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46" r:id="rId1"/>
    <p:sldMasterId id="2147483759" r:id="rId2"/>
  </p:sldMasterIdLst>
  <p:notesMasterIdLst>
    <p:notesMasterId r:id="rId12"/>
  </p:notesMasterIdLst>
  <p:sldIdLst>
    <p:sldId id="386" r:id="rId3"/>
    <p:sldId id="394" r:id="rId4"/>
    <p:sldId id="412" r:id="rId5"/>
    <p:sldId id="410" r:id="rId6"/>
    <p:sldId id="404" r:id="rId7"/>
    <p:sldId id="405" r:id="rId8"/>
    <p:sldId id="407" r:id="rId9"/>
    <p:sldId id="413" r:id="rId10"/>
    <p:sldId id="339" r:id="rId11"/>
  </p:sldIdLst>
  <p:sldSz cx="12798425" cy="7199313"/>
  <p:notesSz cx="6797675" cy="9928225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Calibri Light" panose="020F0302020204030204" pitchFamily="34" charset="0"/>
      <p:regular r:id="rId17"/>
      <p:italic r:id="rId18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pos="4031" userDrawn="1">
          <p15:clr>
            <a:srgbClr val="A4A3A4"/>
          </p15:clr>
        </p15:guide>
        <p15:guide id="2" orient="horz" pos="2268" userDrawn="1">
          <p15:clr>
            <a:srgbClr val="A4A3A4"/>
          </p15:clr>
        </p15:guide>
        <p15:guide id="3" pos="413" userDrawn="1">
          <p15:clr>
            <a:srgbClr val="A4A3A4"/>
          </p15:clr>
        </p15:guide>
        <p15:guide id="4" orient="horz" pos="2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67A5"/>
    <a:srgbClr val="423D67"/>
    <a:srgbClr val="8A8AD0"/>
    <a:srgbClr val="B4B3E1"/>
    <a:srgbClr val="CDCDEB"/>
    <a:srgbClr val="A2A2DA"/>
    <a:srgbClr val="9C9CD8"/>
    <a:srgbClr val="9D070B"/>
    <a:srgbClr val="911313"/>
    <a:srgbClr val="5650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35"/>
    <p:restoredTop sz="99882" autoAdjust="0"/>
  </p:normalViewPr>
  <p:slideViewPr>
    <p:cSldViewPr snapToGrid="0" snapToObjects="1">
      <p:cViewPr>
        <p:scale>
          <a:sx n="50" d="100"/>
          <a:sy n="50" d="100"/>
        </p:scale>
        <p:origin x="-3102" y="-1482"/>
      </p:cViewPr>
      <p:guideLst>
        <p:guide orient="horz" pos="2268"/>
        <p:guide orient="horz" pos="292"/>
        <p:guide pos="4031"/>
        <p:guide pos="41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6" d="100"/>
          <a:sy n="76" d="100"/>
        </p:scale>
        <p:origin x="-3282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F0F3D3-884F-8E45-98AB-E8ADE6E0FD28}" type="datetimeFigureOut">
              <a:rPr lang="ru-RU" smtClean="0"/>
              <a:t>17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BCF3A-9B41-AC48-BBC4-8EC043A9334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923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0933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093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093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0933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1833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99803" y="1178222"/>
            <a:ext cx="9598819" cy="2506427"/>
          </a:xfrm>
        </p:spPr>
        <p:txBody>
          <a:bodyPr anchor="b"/>
          <a:lstStyle>
            <a:lvl1pPr algn="ctr">
              <a:defRPr sz="629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99803" y="3781306"/>
            <a:ext cx="9598819" cy="1738167"/>
          </a:xfrm>
        </p:spPr>
        <p:txBody>
          <a:bodyPr/>
          <a:lstStyle>
            <a:lvl1pPr marL="0" indent="0" algn="ctr">
              <a:buNone/>
              <a:defRPr sz="2519"/>
            </a:lvl1pPr>
            <a:lvl2pPr marL="479923" indent="0" algn="ctr">
              <a:buNone/>
              <a:defRPr sz="2099"/>
            </a:lvl2pPr>
            <a:lvl3pPr marL="959846" indent="0" algn="ctr">
              <a:buNone/>
              <a:defRPr sz="1889"/>
            </a:lvl3pPr>
            <a:lvl4pPr marL="1439769" indent="0" algn="ctr">
              <a:buNone/>
              <a:defRPr sz="1680"/>
            </a:lvl4pPr>
            <a:lvl5pPr marL="1919691" indent="0" algn="ctr">
              <a:buNone/>
              <a:defRPr sz="1680"/>
            </a:lvl5pPr>
            <a:lvl6pPr marL="2399614" indent="0" algn="ctr">
              <a:buNone/>
              <a:defRPr sz="1680"/>
            </a:lvl6pPr>
            <a:lvl7pPr marL="2879537" indent="0" algn="ctr">
              <a:buNone/>
              <a:defRPr sz="1680"/>
            </a:lvl7pPr>
            <a:lvl8pPr marL="3359460" indent="0" algn="ctr">
              <a:buNone/>
              <a:defRPr sz="1680"/>
            </a:lvl8pPr>
            <a:lvl9pPr marL="3839383" indent="0" algn="ctr">
              <a:buNone/>
              <a:defRPr sz="168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83345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402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58873" y="383297"/>
            <a:ext cx="2759660" cy="610108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79892" y="383297"/>
            <a:ext cx="8119001" cy="610108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031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rcRect t="2628" b="2628"/>
          <a:stretch/>
        </p:blipFill>
        <p:spPr>
          <a:xfrm>
            <a:off x="5883550" y="0"/>
            <a:ext cx="6914879" cy="719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018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612046" y="-38862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817611" y="-135233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9307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077500" y="7"/>
            <a:ext cx="1145078" cy="901915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222583" y="7"/>
            <a:ext cx="1575847" cy="90191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1411360" y="148325"/>
            <a:ext cx="1387065" cy="59037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8096498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9109786" y="7"/>
            <a:ext cx="1145078" cy="901915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254867" y="7"/>
            <a:ext cx="2543561" cy="901915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254868" y="148325"/>
            <a:ext cx="2543561" cy="59037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24311361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710717" y="7"/>
            <a:ext cx="1145078" cy="901915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855798" y="7"/>
            <a:ext cx="2942631" cy="901915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22776" y="148325"/>
            <a:ext cx="3075653" cy="59037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8294610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6350377" y="3257557"/>
            <a:ext cx="6448049" cy="3941763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959086" y="0"/>
            <a:ext cx="2482767" cy="180975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813936" y="2419149"/>
            <a:ext cx="3607419" cy="2809282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28724" y="2117242"/>
            <a:ext cx="6795448" cy="8048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31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155372" y="6267249"/>
            <a:ext cx="3607419" cy="2809282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8988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99803" y="1178222"/>
            <a:ext cx="9598819" cy="2506427"/>
          </a:xfrm>
        </p:spPr>
        <p:txBody>
          <a:bodyPr anchor="b"/>
          <a:lstStyle>
            <a:lvl1pPr algn="ctr">
              <a:defRPr sz="629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99803" y="3781306"/>
            <a:ext cx="9598819" cy="1738167"/>
          </a:xfrm>
        </p:spPr>
        <p:txBody>
          <a:bodyPr/>
          <a:lstStyle>
            <a:lvl1pPr marL="0" indent="0" algn="ctr">
              <a:buNone/>
              <a:defRPr sz="2519"/>
            </a:lvl1pPr>
            <a:lvl2pPr marL="479923" indent="0" algn="ctr">
              <a:buNone/>
              <a:defRPr sz="2099"/>
            </a:lvl2pPr>
            <a:lvl3pPr marL="959846" indent="0" algn="ctr">
              <a:buNone/>
              <a:defRPr sz="1889"/>
            </a:lvl3pPr>
            <a:lvl4pPr marL="1439769" indent="0" algn="ctr">
              <a:buNone/>
              <a:defRPr sz="1680"/>
            </a:lvl4pPr>
            <a:lvl5pPr marL="1919691" indent="0" algn="ctr">
              <a:buNone/>
              <a:defRPr sz="1680"/>
            </a:lvl5pPr>
            <a:lvl6pPr marL="2399614" indent="0" algn="ctr">
              <a:buNone/>
              <a:defRPr sz="1680"/>
            </a:lvl6pPr>
            <a:lvl7pPr marL="2879537" indent="0" algn="ctr">
              <a:buNone/>
              <a:defRPr sz="1680"/>
            </a:lvl7pPr>
            <a:lvl8pPr marL="3359460" indent="0" algn="ctr">
              <a:buNone/>
              <a:defRPr sz="1680"/>
            </a:lvl8pPr>
            <a:lvl9pPr marL="3839383" indent="0" algn="ctr">
              <a:buNone/>
              <a:defRPr sz="168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406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555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794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226" y="1794830"/>
            <a:ext cx="11038642" cy="2994714"/>
          </a:xfrm>
        </p:spPr>
        <p:txBody>
          <a:bodyPr anchor="b"/>
          <a:lstStyle>
            <a:lvl1pPr>
              <a:defRPr sz="629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226" y="4817875"/>
            <a:ext cx="11038642" cy="1574849"/>
          </a:xfrm>
        </p:spPr>
        <p:txBody>
          <a:bodyPr/>
          <a:lstStyle>
            <a:lvl1pPr marL="0" indent="0">
              <a:buNone/>
              <a:defRPr sz="2519">
                <a:solidFill>
                  <a:schemeClr val="tx1">
                    <a:tint val="75000"/>
                  </a:schemeClr>
                </a:solidFill>
              </a:defRPr>
            </a:lvl1pPr>
            <a:lvl2pPr marL="479923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959846" indent="0">
              <a:buNone/>
              <a:defRPr sz="1889">
                <a:solidFill>
                  <a:schemeClr val="tx1">
                    <a:tint val="75000"/>
                  </a:schemeClr>
                </a:solidFill>
              </a:defRPr>
            </a:lvl3pPr>
            <a:lvl4pPr marL="1439769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19691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399614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79537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594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39383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1981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79892" y="1916484"/>
            <a:ext cx="5439331" cy="45678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9202" y="1916484"/>
            <a:ext cx="5439331" cy="45678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0319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558" y="383297"/>
            <a:ext cx="11038642" cy="139153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559" y="1764832"/>
            <a:ext cx="5414333" cy="864917"/>
          </a:xfrm>
        </p:spPr>
        <p:txBody>
          <a:bodyPr anchor="b"/>
          <a:lstStyle>
            <a:lvl1pPr marL="0" indent="0">
              <a:buNone/>
              <a:defRPr sz="2519" b="1"/>
            </a:lvl1pPr>
            <a:lvl2pPr marL="479923" indent="0">
              <a:buNone/>
              <a:defRPr sz="2099" b="1"/>
            </a:lvl2pPr>
            <a:lvl3pPr marL="959846" indent="0">
              <a:buNone/>
              <a:defRPr sz="1889" b="1"/>
            </a:lvl3pPr>
            <a:lvl4pPr marL="1439769" indent="0">
              <a:buNone/>
              <a:defRPr sz="1680" b="1"/>
            </a:lvl4pPr>
            <a:lvl5pPr marL="1919691" indent="0">
              <a:buNone/>
              <a:defRPr sz="1680" b="1"/>
            </a:lvl5pPr>
            <a:lvl6pPr marL="2399614" indent="0">
              <a:buNone/>
              <a:defRPr sz="1680" b="1"/>
            </a:lvl6pPr>
            <a:lvl7pPr marL="2879537" indent="0">
              <a:buNone/>
              <a:defRPr sz="1680" b="1"/>
            </a:lvl7pPr>
            <a:lvl8pPr marL="3359460" indent="0">
              <a:buNone/>
              <a:defRPr sz="1680" b="1"/>
            </a:lvl8pPr>
            <a:lvl9pPr marL="3839383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559" y="2629749"/>
            <a:ext cx="5414333" cy="38679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79202" y="1764832"/>
            <a:ext cx="5440998" cy="864917"/>
          </a:xfrm>
        </p:spPr>
        <p:txBody>
          <a:bodyPr anchor="b"/>
          <a:lstStyle>
            <a:lvl1pPr marL="0" indent="0">
              <a:buNone/>
              <a:defRPr sz="2519" b="1"/>
            </a:lvl1pPr>
            <a:lvl2pPr marL="479923" indent="0">
              <a:buNone/>
              <a:defRPr sz="2099" b="1"/>
            </a:lvl2pPr>
            <a:lvl3pPr marL="959846" indent="0">
              <a:buNone/>
              <a:defRPr sz="1889" b="1"/>
            </a:lvl3pPr>
            <a:lvl4pPr marL="1439769" indent="0">
              <a:buNone/>
              <a:defRPr sz="1680" b="1"/>
            </a:lvl4pPr>
            <a:lvl5pPr marL="1919691" indent="0">
              <a:buNone/>
              <a:defRPr sz="1680" b="1"/>
            </a:lvl5pPr>
            <a:lvl6pPr marL="2399614" indent="0">
              <a:buNone/>
              <a:defRPr sz="1680" b="1"/>
            </a:lvl6pPr>
            <a:lvl7pPr marL="2879537" indent="0">
              <a:buNone/>
              <a:defRPr sz="1680" b="1"/>
            </a:lvl7pPr>
            <a:lvl8pPr marL="3359460" indent="0">
              <a:buNone/>
              <a:defRPr sz="1680" b="1"/>
            </a:lvl8pPr>
            <a:lvl9pPr marL="3839383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79202" y="2629749"/>
            <a:ext cx="5440998" cy="38679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3393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9254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1440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559" y="479954"/>
            <a:ext cx="4127825" cy="1679840"/>
          </a:xfrm>
        </p:spPr>
        <p:txBody>
          <a:bodyPr anchor="b"/>
          <a:lstStyle>
            <a:lvl1pPr>
              <a:defRPr sz="335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0997" y="1036569"/>
            <a:ext cx="6479203" cy="5116178"/>
          </a:xfrm>
        </p:spPr>
        <p:txBody>
          <a:bodyPr/>
          <a:lstStyle>
            <a:lvl1pPr>
              <a:defRPr sz="3359"/>
            </a:lvl1pPr>
            <a:lvl2pPr>
              <a:defRPr sz="2939"/>
            </a:lvl2pPr>
            <a:lvl3pPr>
              <a:defRPr sz="2519"/>
            </a:lvl3pPr>
            <a:lvl4pPr>
              <a:defRPr sz="2099"/>
            </a:lvl4pPr>
            <a:lvl5pPr>
              <a:defRPr sz="20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559" y="2159794"/>
            <a:ext cx="4127825" cy="4001285"/>
          </a:xfrm>
        </p:spPr>
        <p:txBody>
          <a:bodyPr/>
          <a:lstStyle>
            <a:lvl1pPr marL="0" indent="0">
              <a:buNone/>
              <a:defRPr sz="1680"/>
            </a:lvl1pPr>
            <a:lvl2pPr marL="479923" indent="0">
              <a:buNone/>
              <a:defRPr sz="1470"/>
            </a:lvl2pPr>
            <a:lvl3pPr marL="959846" indent="0">
              <a:buNone/>
              <a:defRPr sz="1260"/>
            </a:lvl3pPr>
            <a:lvl4pPr marL="1439769" indent="0">
              <a:buNone/>
              <a:defRPr sz="1050"/>
            </a:lvl4pPr>
            <a:lvl5pPr marL="1919691" indent="0">
              <a:buNone/>
              <a:defRPr sz="1050"/>
            </a:lvl5pPr>
            <a:lvl6pPr marL="2399614" indent="0">
              <a:buNone/>
              <a:defRPr sz="1050"/>
            </a:lvl6pPr>
            <a:lvl7pPr marL="2879537" indent="0">
              <a:buNone/>
              <a:defRPr sz="1050"/>
            </a:lvl7pPr>
            <a:lvl8pPr marL="3359460" indent="0">
              <a:buNone/>
              <a:defRPr sz="1050"/>
            </a:lvl8pPr>
            <a:lvl9pPr marL="3839383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9348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559" y="479954"/>
            <a:ext cx="4127825" cy="1679840"/>
          </a:xfrm>
        </p:spPr>
        <p:txBody>
          <a:bodyPr anchor="b"/>
          <a:lstStyle>
            <a:lvl1pPr>
              <a:defRPr sz="335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0997" y="1036569"/>
            <a:ext cx="6479203" cy="5116178"/>
          </a:xfrm>
        </p:spPr>
        <p:txBody>
          <a:bodyPr anchor="t"/>
          <a:lstStyle>
            <a:lvl1pPr marL="0" indent="0">
              <a:buNone/>
              <a:defRPr sz="3359"/>
            </a:lvl1pPr>
            <a:lvl2pPr marL="479923" indent="0">
              <a:buNone/>
              <a:defRPr sz="2939"/>
            </a:lvl2pPr>
            <a:lvl3pPr marL="959846" indent="0">
              <a:buNone/>
              <a:defRPr sz="2519"/>
            </a:lvl3pPr>
            <a:lvl4pPr marL="1439769" indent="0">
              <a:buNone/>
              <a:defRPr sz="2099"/>
            </a:lvl4pPr>
            <a:lvl5pPr marL="1919691" indent="0">
              <a:buNone/>
              <a:defRPr sz="2099"/>
            </a:lvl5pPr>
            <a:lvl6pPr marL="2399614" indent="0">
              <a:buNone/>
              <a:defRPr sz="2099"/>
            </a:lvl6pPr>
            <a:lvl7pPr marL="2879537" indent="0">
              <a:buNone/>
              <a:defRPr sz="2099"/>
            </a:lvl7pPr>
            <a:lvl8pPr marL="3359460" indent="0">
              <a:buNone/>
              <a:defRPr sz="2099"/>
            </a:lvl8pPr>
            <a:lvl9pPr marL="3839383" indent="0">
              <a:buNone/>
              <a:defRPr sz="2099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559" y="2159794"/>
            <a:ext cx="4127825" cy="4001285"/>
          </a:xfrm>
        </p:spPr>
        <p:txBody>
          <a:bodyPr/>
          <a:lstStyle>
            <a:lvl1pPr marL="0" indent="0">
              <a:buNone/>
              <a:defRPr sz="1680"/>
            </a:lvl1pPr>
            <a:lvl2pPr marL="479923" indent="0">
              <a:buNone/>
              <a:defRPr sz="1470"/>
            </a:lvl2pPr>
            <a:lvl3pPr marL="959846" indent="0">
              <a:buNone/>
              <a:defRPr sz="1260"/>
            </a:lvl3pPr>
            <a:lvl4pPr marL="1439769" indent="0">
              <a:buNone/>
              <a:defRPr sz="1050"/>
            </a:lvl4pPr>
            <a:lvl5pPr marL="1919691" indent="0">
              <a:buNone/>
              <a:defRPr sz="1050"/>
            </a:lvl5pPr>
            <a:lvl6pPr marL="2399614" indent="0">
              <a:buNone/>
              <a:defRPr sz="1050"/>
            </a:lvl6pPr>
            <a:lvl7pPr marL="2879537" indent="0">
              <a:buNone/>
              <a:defRPr sz="1050"/>
            </a:lvl7pPr>
            <a:lvl8pPr marL="3359460" indent="0">
              <a:buNone/>
              <a:defRPr sz="1050"/>
            </a:lvl8pPr>
            <a:lvl9pPr marL="3839383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079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2408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58873" y="383297"/>
            <a:ext cx="2759660" cy="610108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79892" y="383297"/>
            <a:ext cx="8119001" cy="610108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918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>
            <a:extLst>
              <a:ext uri="{FF2B5EF4-FFF2-40B4-BE49-F238E27FC236}">
                <a16:creationId xmlns="" xmlns:a16="http://schemas.microsoft.com/office/drawing/2014/main" id="{7E0063F6-DAEE-40EB-AA69-53900610854F}"/>
              </a:ext>
            </a:extLst>
          </p:cNvPr>
          <p:cNvSpPr/>
          <p:nvPr userDrawn="1"/>
        </p:nvSpPr>
        <p:spPr>
          <a:xfrm flipH="1">
            <a:off x="-328957" y="96371"/>
            <a:ext cx="1383995" cy="1194290"/>
          </a:xfrm>
          <a:prstGeom prst="parallelogram">
            <a:avLst>
              <a:gd name="adj" fmla="val 95335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8" name="Параллелограмм 7">
            <a:extLst>
              <a:ext uri="{FF2B5EF4-FFF2-40B4-BE49-F238E27FC236}">
                <a16:creationId xmlns="" xmlns:a16="http://schemas.microsoft.com/office/drawing/2014/main" id="{DEDE95C7-F512-4831-9DE4-2A8C97B9D18C}"/>
              </a:ext>
            </a:extLst>
          </p:cNvPr>
          <p:cNvSpPr/>
          <p:nvPr userDrawn="1"/>
        </p:nvSpPr>
        <p:spPr>
          <a:xfrm flipH="1">
            <a:off x="-490869" y="0"/>
            <a:ext cx="1383995" cy="1194290"/>
          </a:xfrm>
          <a:prstGeom prst="parallelogram">
            <a:avLst>
              <a:gd name="adj" fmla="val 95335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9" name="Прямоугольный треугольник 8">
            <a:extLst>
              <a:ext uri="{FF2B5EF4-FFF2-40B4-BE49-F238E27FC236}">
                <a16:creationId xmlns="" xmlns:a16="http://schemas.microsoft.com/office/drawing/2014/main" id="{9E6EBBB3-D026-4F84-A5EC-9EF684A48DCB}"/>
              </a:ext>
            </a:extLst>
          </p:cNvPr>
          <p:cNvSpPr/>
          <p:nvPr userDrawn="1"/>
        </p:nvSpPr>
        <p:spPr>
          <a:xfrm flipH="1" flipV="1">
            <a:off x="0" y="6"/>
            <a:ext cx="901916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194767AD-6F14-465F-B141-A3B8B5C527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79501" y="253509"/>
            <a:ext cx="715840" cy="648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1394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226" y="1794830"/>
            <a:ext cx="11038642" cy="2994714"/>
          </a:xfrm>
        </p:spPr>
        <p:txBody>
          <a:bodyPr anchor="b"/>
          <a:lstStyle>
            <a:lvl1pPr>
              <a:defRPr sz="629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226" y="4817875"/>
            <a:ext cx="11038642" cy="1574849"/>
          </a:xfrm>
        </p:spPr>
        <p:txBody>
          <a:bodyPr/>
          <a:lstStyle>
            <a:lvl1pPr marL="0" indent="0">
              <a:buNone/>
              <a:defRPr sz="2519">
                <a:solidFill>
                  <a:schemeClr val="tx1">
                    <a:tint val="75000"/>
                  </a:schemeClr>
                </a:solidFill>
              </a:defRPr>
            </a:lvl1pPr>
            <a:lvl2pPr marL="479923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959846" indent="0">
              <a:buNone/>
              <a:defRPr sz="1889">
                <a:solidFill>
                  <a:schemeClr val="tx1">
                    <a:tint val="75000"/>
                  </a:schemeClr>
                </a:solidFill>
              </a:defRPr>
            </a:lvl3pPr>
            <a:lvl4pPr marL="1439769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19691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399614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79537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594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39383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408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5883550" y="0"/>
            <a:ext cx="6914879" cy="719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342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077500" y="7"/>
            <a:ext cx="1145078" cy="901915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222583" y="7"/>
            <a:ext cx="1575847" cy="90191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1411360" y="148325"/>
            <a:ext cx="1387065" cy="59037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6444827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9109786" y="7"/>
            <a:ext cx="1145078" cy="901915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254867" y="7"/>
            <a:ext cx="2543561" cy="901915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254868" y="148325"/>
            <a:ext cx="2543561" cy="59037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40599316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710717" y="7"/>
            <a:ext cx="1145078" cy="901915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855798" y="7"/>
            <a:ext cx="2942631" cy="901915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22776" y="148325"/>
            <a:ext cx="3075653" cy="59037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17759600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6350377" y="3257557"/>
            <a:ext cx="6448049" cy="3941763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959086" y="0"/>
            <a:ext cx="2482767" cy="180975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813936" y="2419149"/>
            <a:ext cx="3607419" cy="2809282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28724" y="2117242"/>
            <a:ext cx="6795448" cy="8048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31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155372" y="6267249"/>
            <a:ext cx="3607419" cy="2809282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519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79892" y="1916484"/>
            <a:ext cx="5439331" cy="45678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9202" y="1916484"/>
            <a:ext cx="5439331" cy="45678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3411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558" y="383297"/>
            <a:ext cx="11038642" cy="139153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559" y="1764832"/>
            <a:ext cx="5414333" cy="864917"/>
          </a:xfrm>
        </p:spPr>
        <p:txBody>
          <a:bodyPr anchor="b"/>
          <a:lstStyle>
            <a:lvl1pPr marL="0" indent="0">
              <a:buNone/>
              <a:defRPr sz="2519" b="1"/>
            </a:lvl1pPr>
            <a:lvl2pPr marL="479923" indent="0">
              <a:buNone/>
              <a:defRPr sz="2099" b="1"/>
            </a:lvl2pPr>
            <a:lvl3pPr marL="959846" indent="0">
              <a:buNone/>
              <a:defRPr sz="1889" b="1"/>
            </a:lvl3pPr>
            <a:lvl4pPr marL="1439769" indent="0">
              <a:buNone/>
              <a:defRPr sz="1680" b="1"/>
            </a:lvl4pPr>
            <a:lvl5pPr marL="1919691" indent="0">
              <a:buNone/>
              <a:defRPr sz="1680" b="1"/>
            </a:lvl5pPr>
            <a:lvl6pPr marL="2399614" indent="0">
              <a:buNone/>
              <a:defRPr sz="1680" b="1"/>
            </a:lvl6pPr>
            <a:lvl7pPr marL="2879537" indent="0">
              <a:buNone/>
              <a:defRPr sz="1680" b="1"/>
            </a:lvl7pPr>
            <a:lvl8pPr marL="3359460" indent="0">
              <a:buNone/>
              <a:defRPr sz="1680" b="1"/>
            </a:lvl8pPr>
            <a:lvl9pPr marL="3839383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559" y="2629749"/>
            <a:ext cx="5414333" cy="38679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79202" y="1764832"/>
            <a:ext cx="5440998" cy="864917"/>
          </a:xfrm>
        </p:spPr>
        <p:txBody>
          <a:bodyPr anchor="b"/>
          <a:lstStyle>
            <a:lvl1pPr marL="0" indent="0">
              <a:buNone/>
              <a:defRPr sz="2519" b="1"/>
            </a:lvl1pPr>
            <a:lvl2pPr marL="479923" indent="0">
              <a:buNone/>
              <a:defRPr sz="2099" b="1"/>
            </a:lvl2pPr>
            <a:lvl3pPr marL="959846" indent="0">
              <a:buNone/>
              <a:defRPr sz="1889" b="1"/>
            </a:lvl3pPr>
            <a:lvl4pPr marL="1439769" indent="0">
              <a:buNone/>
              <a:defRPr sz="1680" b="1"/>
            </a:lvl4pPr>
            <a:lvl5pPr marL="1919691" indent="0">
              <a:buNone/>
              <a:defRPr sz="1680" b="1"/>
            </a:lvl5pPr>
            <a:lvl6pPr marL="2399614" indent="0">
              <a:buNone/>
              <a:defRPr sz="1680" b="1"/>
            </a:lvl6pPr>
            <a:lvl7pPr marL="2879537" indent="0">
              <a:buNone/>
              <a:defRPr sz="1680" b="1"/>
            </a:lvl7pPr>
            <a:lvl8pPr marL="3359460" indent="0">
              <a:buNone/>
              <a:defRPr sz="1680" b="1"/>
            </a:lvl8pPr>
            <a:lvl9pPr marL="3839383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79202" y="2629749"/>
            <a:ext cx="5440998" cy="38679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942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3681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58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559" y="479954"/>
            <a:ext cx="4127825" cy="1679840"/>
          </a:xfrm>
        </p:spPr>
        <p:txBody>
          <a:bodyPr anchor="b"/>
          <a:lstStyle>
            <a:lvl1pPr>
              <a:defRPr sz="335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0997" y="1036569"/>
            <a:ext cx="6479203" cy="5116178"/>
          </a:xfrm>
        </p:spPr>
        <p:txBody>
          <a:bodyPr/>
          <a:lstStyle>
            <a:lvl1pPr>
              <a:defRPr sz="3359"/>
            </a:lvl1pPr>
            <a:lvl2pPr>
              <a:defRPr sz="2939"/>
            </a:lvl2pPr>
            <a:lvl3pPr>
              <a:defRPr sz="2519"/>
            </a:lvl3pPr>
            <a:lvl4pPr>
              <a:defRPr sz="2099"/>
            </a:lvl4pPr>
            <a:lvl5pPr>
              <a:defRPr sz="20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559" y="2159794"/>
            <a:ext cx="4127825" cy="4001285"/>
          </a:xfrm>
        </p:spPr>
        <p:txBody>
          <a:bodyPr/>
          <a:lstStyle>
            <a:lvl1pPr marL="0" indent="0">
              <a:buNone/>
              <a:defRPr sz="1680"/>
            </a:lvl1pPr>
            <a:lvl2pPr marL="479923" indent="0">
              <a:buNone/>
              <a:defRPr sz="1470"/>
            </a:lvl2pPr>
            <a:lvl3pPr marL="959846" indent="0">
              <a:buNone/>
              <a:defRPr sz="1260"/>
            </a:lvl3pPr>
            <a:lvl4pPr marL="1439769" indent="0">
              <a:buNone/>
              <a:defRPr sz="1050"/>
            </a:lvl4pPr>
            <a:lvl5pPr marL="1919691" indent="0">
              <a:buNone/>
              <a:defRPr sz="1050"/>
            </a:lvl5pPr>
            <a:lvl6pPr marL="2399614" indent="0">
              <a:buNone/>
              <a:defRPr sz="1050"/>
            </a:lvl6pPr>
            <a:lvl7pPr marL="2879537" indent="0">
              <a:buNone/>
              <a:defRPr sz="1050"/>
            </a:lvl7pPr>
            <a:lvl8pPr marL="3359460" indent="0">
              <a:buNone/>
              <a:defRPr sz="1050"/>
            </a:lvl8pPr>
            <a:lvl9pPr marL="3839383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8876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559" y="479954"/>
            <a:ext cx="4127825" cy="1679840"/>
          </a:xfrm>
        </p:spPr>
        <p:txBody>
          <a:bodyPr anchor="b"/>
          <a:lstStyle>
            <a:lvl1pPr>
              <a:defRPr sz="335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0997" y="1036569"/>
            <a:ext cx="6479203" cy="5116178"/>
          </a:xfrm>
        </p:spPr>
        <p:txBody>
          <a:bodyPr anchor="t"/>
          <a:lstStyle>
            <a:lvl1pPr marL="0" indent="0">
              <a:buNone/>
              <a:defRPr sz="3359"/>
            </a:lvl1pPr>
            <a:lvl2pPr marL="479923" indent="0">
              <a:buNone/>
              <a:defRPr sz="2939"/>
            </a:lvl2pPr>
            <a:lvl3pPr marL="959846" indent="0">
              <a:buNone/>
              <a:defRPr sz="2519"/>
            </a:lvl3pPr>
            <a:lvl4pPr marL="1439769" indent="0">
              <a:buNone/>
              <a:defRPr sz="2099"/>
            </a:lvl4pPr>
            <a:lvl5pPr marL="1919691" indent="0">
              <a:buNone/>
              <a:defRPr sz="2099"/>
            </a:lvl5pPr>
            <a:lvl6pPr marL="2399614" indent="0">
              <a:buNone/>
              <a:defRPr sz="2099"/>
            </a:lvl6pPr>
            <a:lvl7pPr marL="2879537" indent="0">
              <a:buNone/>
              <a:defRPr sz="2099"/>
            </a:lvl7pPr>
            <a:lvl8pPr marL="3359460" indent="0">
              <a:buNone/>
              <a:defRPr sz="2099"/>
            </a:lvl8pPr>
            <a:lvl9pPr marL="3839383" indent="0">
              <a:buNone/>
              <a:defRPr sz="2099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559" y="2159794"/>
            <a:ext cx="4127825" cy="4001285"/>
          </a:xfrm>
        </p:spPr>
        <p:txBody>
          <a:bodyPr/>
          <a:lstStyle>
            <a:lvl1pPr marL="0" indent="0">
              <a:buNone/>
              <a:defRPr sz="1680"/>
            </a:lvl1pPr>
            <a:lvl2pPr marL="479923" indent="0">
              <a:buNone/>
              <a:defRPr sz="1470"/>
            </a:lvl2pPr>
            <a:lvl3pPr marL="959846" indent="0">
              <a:buNone/>
              <a:defRPr sz="1260"/>
            </a:lvl3pPr>
            <a:lvl4pPr marL="1439769" indent="0">
              <a:buNone/>
              <a:defRPr sz="1050"/>
            </a:lvl4pPr>
            <a:lvl5pPr marL="1919691" indent="0">
              <a:buNone/>
              <a:defRPr sz="1050"/>
            </a:lvl5pPr>
            <a:lvl6pPr marL="2399614" indent="0">
              <a:buNone/>
              <a:defRPr sz="1050"/>
            </a:lvl6pPr>
            <a:lvl7pPr marL="2879537" indent="0">
              <a:buNone/>
              <a:defRPr sz="1050"/>
            </a:lvl7pPr>
            <a:lvl8pPr marL="3359460" indent="0">
              <a:buNone/>
              <a:defRPr sz="1050"/>
            </a:lvl8pPr>
            <a:lvl9pPr marL="3839383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7978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9892" y="383297"/>
            <a:ext cx="11038642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9892" y="1916484"/>
            <a:ext cx="11038642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9892" y="6672697"/>
            <a:ext cx="2879646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39479" y="6672697"/>
            <a:ext cx="43194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8887" y="6672697"/>
            <a:ext cx="2879646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855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41" r:id="rId13"/>
    <p:sldLayoutId id="2147483742" r:id="rId14"/>
    <p:sldLayoutId id="2147483743" r:id="rId15"/>
    <p:sldLayoutId id="2147483744" r:id="rId16"/>
    <p:sldLayoutId id="2147483745" r:id="rId17"/>
  </p:sldLayoutIdLst>
  <p:txStyles>
    <p:titleStyle>
      <a:lvl1pPr algn="l" defTabSz="959846" rtl="0" eaLnBrk="1" latinLnBrk="0" hangingPunct="1">
        <a:lnSpc>
          <a:spcPct val="90000"/>
        </a:lnSpc>
        <a:spcBef>
          <a:spcPct val="0"/>
        </a:spcBef>
        <a:buNone/>
        <a:defRPr sz="461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9961" indent="-239961" algn="l" defTabSz="959846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2939" kern="1200">
          <a:solidFill>
            <a:schemeClr val="tx1"/>
          </a:solidFill>
          <a:latin typeface="+mn-lt"/>
          <a:ea typeface="+mn-ea"/>
          <a:cs typeface="+mn-cs"/>
        </a:defRPr>
      </a:lvl1pPr>
      <a:lvl2pPr marL="719884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519" kern="1200">
          <a:solidFill>
            <a:schemeClr val="tx1"/>
          </a:solidFill>
          <a:latin typeface="+mn-lt"/>
          <a:ea typeface="+mn-ea"/>
          <a:cs typeface="+mn-cs"/>
        </a:defRPr>
      </a:lvl2pPr>
      <a:lvl3pPr marL="1199807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79730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4pPr>
      <a:lvl5pPr marL="2159653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5pPr>
      <a:lvl6pPr marL="2639576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6pPr>
      <a:lvl7pPr marL="3119498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7pPr>
      <a:lvl8pPr marL="3599421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8pPr>
      <a:lvl9pPr marL="4079344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1pPr>
      <a:lvl2pPr marL="479923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2pPr>
      <a:lvl3pPr marL="959846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3pPr>
      <a:lvl4pPr marL="1439769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4pPr>
      <a:lvl5pPr marL="1919691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5pPr>
      <a:lvl6pPr marL="2399614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6pPr>
      <a:lvl7pPr marL="2879537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7pPr>
      <a:lvl8pPr marL="3359460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8pPr>
      <a:lvl9pPr marL="3839383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9892" y="383297"/>
            <a:ext cx="11038642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9892" y="1916484"/>
            <a:ext cx="11038642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9892" y="6672697"/>
            <a:ext cx="2879646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39479" y="6672697"/>
            <a:ext cx="43194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8887" y="6672697"/>
            <a:ext cx="2879646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="" xmlns:a16="http://schemas.microsoft.com/office/drawing/2014/main" id="{3D4E420A-6959-4FB1-AB2E-AE14E2FA4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2016" y="1588"/>
          <a:ext cx="20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45D26A5C-05C8-4CC0-B876-86E410B08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32333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33" r:id="rId13"/>
    <p:sldLayoutId id="2147483735" r:id="rId14"/>
    <p:sldLayoutId id="2147483736" r:id="rId15"/>
    <p:sldLayoutId id="2147483737" r:id="rId16"/>
    <p:sldLayoutId id="2147483738" r:id="rId17"/>
  </p:sldLayoutIdLst>
  <p:txStyles>
    <p:titleStyle>
      <a:lvl1pPr algn="l" defTabSz="959846" rtl="0" eaLnBrk="1" latinLnBrk="0" hangingPunct="1">
        <a:lnSpc>
          <a:spcPct val="90000"/>
        </a:lnSpc>
        <a:spcBef>
          <a:spcPct val="0"/>
        </a:spcBef>
        <a:buNone/>
        <a:defRPr sz="461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9961" indent="-239961" algn="l" defTabSz="959846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2939" kern="1200">
          <a:solidFill>
            <a:schemeClr val="tx1"/>
          </a:solidFill>
          <a:latin typeface="+mn-lt"/>
          <a:ea typeface="+mn-ea"/>
          <a:cs typeface="+mn-cs"/>
        </a:defRPr>
      </a:lvl1pPr>
      <a:lvl2pPr marL="719884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519" kern="1200">
          <a:solidFill>
            <a:schemeClr val="tx1"/>
          </a:solidFill>
          <a:latin typeface="+mn-lt"/>
          <a:ea typeface="+mn-ea"/>
          <a:cs typeface="+mn-cs"/>
        </a:defRPr>
      </a:lvl2pPr>
      <a:lvl3pPr marL="1199807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79730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4pPr>
      <a:lvl5pPr marL="2159653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5pPr>
      <a:lvl6pPr marL="2639576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6pPr>
      <a:lvl7pPr marL="3119498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7pPr>
      <a:lvl8pPr marL="3599421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8pPr>
      <a:lvl9pPr marL="4079344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1pPr>
      <a:lvl2pPr marL="479923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2pPr>
      <a:lvl3pPr marL="959846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3pPr>
      <a:lvl4pPr marL="1439769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4pPr>
      <a:lvl5pPr marL="1919691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5pPr>
      <a:lvl6pPr marL="2399614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6pPr>
      <a:lvl7pPr marL="2879537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7pPr>
      <a:lvl8pPr marL="3359460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8pPr>
      <a:lvl9pPr marL="3839383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4.emf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2219" y="778593"/>
            <a:ext cx="1808639" cy="1638259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-753970" y="4364954"/>
            <a:ext cx="2075337" cy="1933575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1568841" y="3295401"/>
            <a:ext cx="5398974" cy="1446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r>
              <a:rPr lang="ru-RU" sz="22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ензирование образовательной деятельности при реализации дополнительных образовательных программ спортивной подготовки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1568841" y="5620501"/>
            <a:ext cx="5701092" cy="800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 anchorCtr="0">
            <a:spAutoFit/>
          </a:bodyPr>
          <a:lstStyle/>
          <a:p>
            <a:r>
              <a:rPr lang="ru-RU" b="1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зор Ахмедович Музаев</a:t>
            </a:r>
            <a:r>
              <a:rPr lang="ru-RU" sz="1600" b="1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ru-RU" sz="1400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ь Федеральной службы по надзору </a:t>
            </a:r>
            <a:br>
              <a:rPr lang="ru-RU" sz="1400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фере образования и наук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920" y="447549"/>
            <a:ext cx="3042719" cy="3042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44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 стрелкой 13">
            <a:extLst>
              <a:ext uri="{FF2B5EF4-FFF2-40B4-BE49-F238E27FC236}">
                <a16:creationId xmlns="" xmlns:a16="http://schemas.microsoft.com/office/drawing/2014/main" id="{EE018BCA-28C2-5C11-957B-9F3405B15658}"/>
              </a:ext>
            </a:extLst>
          </p:cNvPr>
          <p:cNvCxnSpPr>
            <a:cxnSpLocks/>
          </p:cNvCxnSpPr>
          <p:nvPr/>
        </p:nvCxnSpPr>
        <p:spPr>
          <a:xfrm>
            <a:off x="6322330" y="2166170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D9C8B7C6-6970-7A6E-3A3B-9A39B760AF44}"/>
              </a:ext>
            </a:extLst>
          </p:cNvPr>
          <p:cNvSpPr txBox="1"/>
          <p:nvPr/>
        </p:nvSpPr>
        <p:spPr>
          <a:xfrm>
            <a:off x="906308" y="6162765"/>
            <a:ext cx="11069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423D67"/>
                </a:solidFill>
                <a:latin typeface="+mj-lt"/>
                <a:cs typeface="Times New Roman" panose="02020603050405020304" pitchFamily="18" charset="0"/>
              </a:rPr>
              <a:t>Постановление Правительства Российской Федерации от 16.08.2022 № 1419 «Об утверждении Правил выдачи временной лицензии на осуществление образовательной деятельности организациям, реализующим программы спортивной подготовки»</a:t>
            </a:r>
          </a:p>
        </p:txBody>
      </p:sp>
      <p:cxnSp>
        <p:nvCxnSpPr>
          <p:cNvPr id="3" name="Прямая соединительная линия 2"/>
          <p:cNvCxnSpPr>
            <a:cxnSpLocks/>
          </p:cNvCxnSpPr>
          <p:nvPr/>
        </p:nvCxnSpPr>
        <p:spPr>
          <a:xfrm>
            <a:off x="1019596" y="6156356"/>
            <a:ext cx="10956504" cy="0"/>
          </a:xfrm>
          <a:prstGeom prst="line">
            <a:avLst/>
          </a:prstGeom>
          <a:ln w="25400">
            <a:solidFill>
              <a:srgbClr val="9C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AFF13763-D0FE-4259-9A40-3BF32D3948C4}"/>
              </a:ext>
            </a:extLst>
          </p:cNvPr>
          <p:cNvSpPr/>
          <p:nvPr/>
        </p:nvSpPr>
        <p:spPr>
          <a:xfrm>
            <a:off x="2997205" y="772943"/>
            <a:ext cx="6650250" cy="914400"/>
          </a:xfrm>
          <a:prstGeom prst="rect">
            <a:avLst/>
          </a:prstGeom>
          <a:solidFill>
            <a:srgbClr val="B4B3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ru-RU" sz="3000" b="1" dirty="0">
                <a:solidFill>
                  <a:srgbClr val="423D67"/>
                </a:solidFill>
              </a:rPr>
              <a:t>ВРЕМЕННАЯ ЛИЦЕНЗИЯ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516CE97A-47C1-E91D-2BFC-849B8140EE20}"/>
              </a:ext>
            </a:extLst>
          </p:cNvPr>
          <p:cNvSpPr/>
          <p:nvPr/>
        </p:nvSpPr>
        <p:spPr>
          <a:xfrm>
            <a:off x="2997205" y="772943"/>
            <a:ext cx="6650250" cy="1393227"/>
          </a:xfrm>
          <a:prstGeom prst="rect">
            <a:avLst/>
          </a:prstGeom>
          <a:noFill/>
          <a:ln w="38100">
            <a:solidFill>
              <a:srgbClr val="B4B3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b"/>
          <a:lstStyle/>
          <a:p>
            <a:pPr algn="ctr"/>
            <a:r>
              <a:rPr lang="ru-RU" sz="2000" b="1" dirty="0">
                <a:solidFill>
                  <a:srgbClr val="423D67"/>
                </a:solidFill>
              </a:rPr>
              <a:t>01.01.2023 – 31.08.2023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74841AB1-1716-3F30-3649-B6DBE42720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8201" y="321918"/>
            <a:ext cx="915386" cy="1304912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1D2E09F4-6B69-E4CA-6383-1AE74D5E1693}"/>
              </a:ext>
            </a:extLst>
          </p:cNvPr>
          <p:cNvSpPr/>
          <p:nvPr/>
        </p:nvSpPr>
        <p:spPr>
          <a:xfrm>
            <a:off x="8646807" y="2950417"/>
            <a:ext cx="2557605" cy="2557605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0" rtlCol="0" anchor="b"/>
          <a:lstStyle/>
          <a:p>
            <a:pPr algn="ctr"/>
            <a:r>
              <a:rPr lang="ru-RU" sz="2000" dirty="0">
                <a:solidFill>
                  <a:srgbClr val="423D67"/>
                </a:solidFill>
              </a:rPr>
              <a:t>Государственная пошлин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87CF37B3-6DA5-6E94-31CB-D758F76ACCEC}"/>
              </a:ext>
            </a:extLst>
          </p:cNvPr>
          <p:cNvSpPr/>
          <p:nvPr/>
        </p:nvSpPr>
        <p:spPr>
          <a:xfrm>
            <a:off x="1440248" y="2905151"/>
            <a:ext cx="2557605" cy="2557605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0" rtlCol="0" anchor="b"/>
          <a:lstStyle/>
          <a:p>
            <a:pPr algn="ctr"/>
            <a:r>
              <a:rPr lang="ru-RU" sz="2000" dirty="0">
                <a:solidFill>
                  <a:srgbClr val="423D67"/>
                </a:solidFill>
              </a:rPr>
              <a:t>Лицензионные требования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8385C92B-8219-5102-431B-EA1D61459A49}"/>
              </a:ext>
            </a:extLst>
          </p:cNvPr>
          <p:cNvSpPr/>
          <p:nvPr/>
        </p:nvSpPr>
        <p:spPr>
          <a:xfrm>
            <a:off x="4742500" y="2905151"/>
            <a:ext cx="3159659" cy="2598853"/>
          </a:xfrm>
          <a:prstGeom prst="rect">
            <a:avLst/>
          </a:prstGeom>
          <a:solidFill>
            <a:srgbClr val="8A8AD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0" rtlCol="0" anchor="b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Заявление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b="1" dirty="0">
                <a:solidFill>
                  <a:schemeClr val="bg1"/>
                </a:solidFill>
              </a:rPr>
              <a:t>о предоставление временной лицензии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ED9C6AE6-1BA3-9E30-F459-1CA176ABA8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7117" y="3360087"/>
            <a:ext cx="823866" cy="823866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7E997A51-2772-E287-9B42-0C8CB570DF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3676" y="3360087"/>
            <a:ext cx="823866" cy="823866"/>
          </a:xfrm>
          <a:prstGeom prst="rect">
            <a:avLst/>
          </a:prstGeom>
        </p:spPr>
      </p:pic>
      <p:cxnSp>
        <p:nvCxnSpPr>
          <p:cNvPr id="31" name="Прямая со стрелкой 30">
            <a:extLst>
              <a:ext uri="{FF2B5EF4-FFF2-40B4-BE49-F238E27FC236}">
                <a16:creationId xmlns="" xmlns:a16="http://schemas.microsoft.com/office/drawing/2014/main" id="{FEECA4F9-C018-9A3E-7744-2DF8E0AF103E}"/>
              </a:ext>
            </a:extLst>
          </p:cNvPr>
          <p:cNvCxnSpPr>
            <a:cxnSpLocks/>
          </p:cNvCxnSpPr>
          <p:nvPr/>
        </p:nvCxnSpPr>
        <p:spPr>
          <a:xfrm>
            <a:off x="3515630" y="2166170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="" xmlns:a16="http://schemas.microsoft.com/office/drawing/2014/main" id="{1988FECF-A8AA-FB6A-302B-7DFD3B0FE98F}"/>
              </a:ext>
            </a:extLst>
          </p:cNvPr>
          <p:cNvCxnSpPr>
            <a:cxnSpLocks/>
          </p:cNvCxnSpPr>
          <p:nvPr/>
        </p:nvCxnSpPr>
        <p:spPr>
          <a:xfrm>
            <a:off x="9119030" y="2166170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Рисунок 33">
            <a:extLst>
              <a:ext uri="{FF2B5EF4-FFF2-40B4-BE49-F238E27FC236}">
                <a16:creationId xmlns="" xmlns:a16="http://schemas.microsoft.com/office/drawing/2014/main" id="{3F9F75AB-2517-8017-5EE5-ECE7EC13AF5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998330" y="3219101"/>
            <a:ext cx="648000" cy="824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77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DDAA0CE2-0D31-F35F-507A-EF5476E4DD58}"/>
              </a:ext>
            </a:extLst>
          </p:cNvPr>
          <p:cNvSpPr/>
          <p:nvPr/>
        </p:nvSpPr>
        <p:spPr>
          <a:xfrm>
            <a:off x="1368425" y="1955370"/>
            <a:ext cx="3530600" cy="660400"/>
          </a:xfrm>
          <a:prstGeom prst="rect">
            <a:avLst/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до 29.12.2022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A0C60392-0836-5665-1118-4EBABF520EE4}"/>
              </a:ext>
            </a:extLst>
          </p:cNvPr>
          <p:cNvSpPr/>
          <p:nvPr/>
        </p:nvSpPr>
        <p:spPr>
          <a:xfrm>
            <a:off x="4899025" y="1955370"/>
            <a:ext cx="3225800" cy="66040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с 30.12.2022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AC8C5596-0826-D9AA-06BB-6CCA803FF340}"/>
              </a:ext>
            </a:extLst>
          </p:cNvPr>
          <p:cNvSpPr/>
          <p:nvPr/>
        </p:nvSpPr>
        <p:spPr>
          <a:xfrm>
            <a:off x="8124825" y="1955370"/>
            <a:ext cx="3225800" cy="660400"/>
          </a:xfrm>
          <a:prstGeom prst="rect">
            <a:avLst/>
          </a:prstGeom>
          <a:solidFill>
            <a:srgbClr val="423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09.01.2023*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A079D14D-B16F-1D6C-31F1-8516B69CE2FC}"/>
              </a:ext>
            </a:extLst>
          </p:cNvPr>
          <p:cNvSpPr txBox="1"/>
          <p:nvPr/>
        </p:nvSpPr>
        <p:spPr>
          <a:xfrm>
            <a:off x="1368425" y="356234"/>
            <a:ext cx="8601075" cy="97872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3200" b="1" kern="1200" dirty="0">
                <a:solidFill>
                  <a:srgbClr val="423D67"/>
                </a:solidFill>
              </a:rPr>
              <a:t>ПОРЯДОК И СРОКИ ПОЛУЧЕНИЯ ВРЕМЕННОЙ ЛИЦЕНЗИЙ</a:t>
            </a:r>
            <a:endParaRPr lang="ru-RU" sz="3600" kern="1200" dirty="0">
              <a:solidFill>
                <a:srgbClr val="423D67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1934DE09-943A-FD17-D6E7-AE041AE90A41}"/>
              </a:ext>
            </a:extLst>
          </p:cNvPr>
          <p:cNvSpPr/>
          <p:nvPr/>
        </p:nvSpPr>
        <p:spPr>
          <a:xfrm>
            <a:off x="1362077" y="6362003"/>
            <a:ext cx="3772636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r>
              <a:rPr lang="ru-RU" sz="1400" b="1" dirty="0">
                <a:solidFill>
                  <a:srgbClr val="423D67"/>
                </a:solidFill>
              </a:rPr>
              <a:t>* </a:t>
            </a:r>
            <a:r>
              <a:rPr lang="ru-RU" sz="1400" dirty="0">
                <a:solidFill>
                  <a:srgbClr val="423D67"/>
                </a:solidFill>
              </a:rPr>
              <a:t>при направлении заявления до 09.01.202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F5D6384B-CCE7-F1F6-A850-7C7ECBB70BF0}"/>
              </a:ext>
            </a:extLst>
          </p:cNvPr>
          <p:cNvSpPr txBox="1"/>
          <p:nvPr/>
        </p:nvSpPr>
        <p:spPr>
          <a:xfrm>
            <a:off x="1368426" y="4069832"/>
            <a:ext cx="3686174" cy="1631216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Подготовка заявления </a:t>
            </a:r>
            <a:br>
              <a:rPr lang="ru-RU" sz="2000" kern="1200" dirty="0">
                <a:solidFill>
                  <a:srgbClr val="423D67"/>
                </a:solidFill>
              </a:rPr>
            </a:br>
            <a:r>
              <a:rPr lang="ru-RU" sz="2000" kern="1200" dirty="0">
                <a:solidFill>
                  <a:srgbClr val="423D67"/>
                </a:solidFill>
              </a:rPr>
              <a:t>и согласование правильности </a:t>
            </a:r>
          </a:p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его заполнения </a:t>
            </a:r>
          </a:p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с лицензирующим органом через ИС Рособрнадзора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F65141C8-B7A0-7A05-5B11-3A677929FF07}"/>
              </a:ext>
            </a:extLst>
          </p:cNvPr>
          <p:cNvSpPr txBox="1"/>
          <p:nvPr/>
        </p:nvSpPr>
        <p:spPr>
          <a:xfrm>
            <a:off x="5466964" y="4069832"/>
            <a:ext cx="3225800" cy="132343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Направление заявления </a:t>
            </a:r>
            <a:br>
              <a:rPr lang="ru-RU" sz="2000" kern="1200" dirty="0">
                <a:solidFill>
                  <a:srgbClr val="423D67"/>
                </a:solidFill>
              </a:rPr>
            </a:br>
            <a:r>
              <a:rPr lang="ru-RU" sz="2000" kern="1200" dirty="0">
                <a:solidFill>
                  <a:srgbClr val="423D67"/>
                </a:solidFill>
              </a:rPr>
              <a:t>в лицензирующий </a:t>
            </a:r>
          </a:p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орган через ИС Рособрнадзор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704016D5-F68F-8068-018D-70352736B7F9}"/>
              </a:ext>
            </a:extLst>
          </p:cNvPr>
          <p:cNvSpPr txBox="1"/>
          <p:nvPr/>
        </p:nvSpPr>
        <p:spPr>
          <a:xfrm>
            <a:off x="9282929" y="4069832"/>
            <a:ext cx="2536828" cy="101566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Предоставление временной </a:t>
            </a:r>
          </a:p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лицензии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92006117-FF68-3EC4-DEE0-343436FF4B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2929" y="2908517"/>
            <a:ext cx="686571" cy="978729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E96D6795-6EF0-514A-8D4A-9B4511080D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2077" y="2985517"/>
            <a:ext cx="648000" cy="824728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="" xmlns:a16="http://schemas.microsoft.com/office/drawing/2014/main" id="{A0106460-27F7-B48E-DE6F-FD35019BBC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6964" y="3012481"/>
            <a:ext cx="1084134" cy="770800"/>
          </a:xfrm>
          <a:prstGeom prst="rect">
            <a:avLst/>
          </a:prstGeom>
        </p:spPr>
      </p:pic>
      <p:cxnSp>
        <p:nvCxnSpPr>
          <p:cNvPr id="28" name="Прямая соединительная линия 27">
            <a:extLst>
              <a:ext uri="{FF2B5EF4-FFF2-40B4-BE49-F238E27FC236}">
                <a16:creationId xmlns="" xmlns:a16="http://schemas.microsoft.com/office/drawing/2014/main" id="{C77445AC-146A-5590-22B0-AD6E73A81EF9}"/>
              </a:ext>
            </a:extLst>
          </p:cNvPr>
          <p:cNvCxnSpPr>
            <a:cxnSpLocks/>
          </p:cNvCxnSpPr>
          <p:nvPr/>
        </p:nvCxnSpPr>
        <p:spPr>
          <a:xfrm>
            <a:off x="1375196" y="6321456"/>
            <a:ext cx="9975429" cy="0"/>
          </a:xfrm>
          <a:prstGeom prst="line">
            <a:avLst/>
          </a:prstGeom>
          <a:ln w="25400">
            <a:solidFill>
              <a:srgbClr val="9C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499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F349D784-E766-779C-5E39-714CB2A2D57D}"/>
              </a:ext>
            </a:extLst>
          </p:cNvPr>
          <p:cNvSpPr/>
          <p:nvPr/>
        </p:nvSpPr>
        <p:spPr>
          <a:xfrm>
            <a:off x="1547264" y="2063147"/>
            <a:ext cx="5616000" cy="47020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r>
              <a:rPr lang="en-US" dirty="0"/>
              <a:t>https://akndpp.obrnadzor.gov.ru/ </a:t>
            </a:r>
            <a:endParaRPr lang="ru-RU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264" y="2533354"/>
            <a:ext cx="5616000" cy="284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8407675" y="1776459"/>
            <a:ext cx="3091157" cy="1446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423D67"/>
                </a:solidFill>
              </a:rPr>
              <a:t>РЕГИСТРАЦИЯ</a:t>
            </a:r>
            <a:r>
              <a:rPr lang="ru-RU" sz="2000" dirty="0">
                <a:solidFill>
                  <a:srgbClr val="423D67"/>
                </a:solidFill>
              </a:rPr>
              <a:t> </a:t>
            </a:r>
          </a:p>
          <a:p>
            <a:pPr algn="ctr"/>
            <a:r>
              <a:rPr lang="ru-RU" sz="2000" dirty="0">
                <a:solidFill>
                  <a:srgbClr val="423D67"/>
                </a:solidFill>
              </a:rPr>
              <a:t>для открытия личного кабинета организации </a:t>
            </a:r>
          </a:p>
          <a:p>
            <a:pPr algn="ctr"/>
            <a:r>
              <a:rPr lang="ru-RU" sz="2000" dirty="0">
                <a:solidFill>
                  <a:srgbClr val="423D67"/>
                </a:solidFill>
              </a:rPr>
              <a:t>в ИС Рособрнадзор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7757446" y="5598463"/>
            <a:ext cx="199064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b="1" dirty="0">
                <a:solidFill>
                  <a:srgbClr val="423D67"/>
                </a:solidFill>
              </a:rPr>
              <a:t>ЕСИ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9953253" y="5598463"/>
            <a:ext cx="2393084" cy="800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b="1" dirty="0">
                <a:solidFill>
                  <a:srgbClr val="423D67"/>
                </a:solidFill>
              </a:rPr>
              <a:t>Логин и пароль </a:t>
            </a:r>
            <a:r>
              <a:rPr lang="ru-RU" sz="1400" dirty="0">
                <a:solidFill>
                  <a:srgbClr val="423D67"/>
                </a:solidFill>
              </a:rPr>
              <a:t>(предоставляется лицензирующим органом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5DED4191-1C71-3C73-C3D8-1480B2A6EFF9}"/>
              </a:ext>
            </a:extLst>
          </p:cNvPr>
          <p:cNvSpPr txBox="1"/>
          <p:nvPr/>
        </p:nvSpPr>
        <p:spPr>
          <a:xfrm>
            <a:off x="1368425" y="356234"/>
            <a:ext cx="8601075" cy="97872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3200" b="1" kern="1200" dirty="0">
                <a:solidFill>
                  <a:srgbClr val="423D67"/>
                </a:solidFill>
              </a:rPr>
              <a:t>ИНФОРМАЦИОННАЯ СИСТЕМА РОСОБРНАДЗОР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E730C960-8B95-39AA-7B30-8197A22EA5B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420184" y="1930400"/>
            <a:ext cx="5880601" cy="4628251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1D90D8B8-0E94-0581-3968-A898994D16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4588" y="4077294"/>
            <a:ext cx="1936357" cy="1376715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8EB3BC05-834E-5C07-D729-26BA908F0D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1617" y="4077294"/>
            <a:ext cx="1936357" cy="137671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55294FD3-F4E6-3EA7-4963-3EA0164814C7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8524677" y="4329485"/>
            <a:ext cx="456179" cy="498945"/>
          </a:xfrm>
          <a:prstGeom prst="rect">
            <a:avLst/>
          </a:prstGeom>
        </p:spPr>
      </p:pic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E9745745-3349-DA26-8AE5-ACC50AE75FE9}"/>
              </a:ext>
            </a:extLst>
          </p:cNvPr>
          <p:cNvSpPr/>
          <p:nvPr/>
        </p:nvSpPr>
        <p:spPr>
          <a:xfrm>
            <a:off x="10735795" y="4476257"/>
            <a:ext cx="828000" cy="18000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0" rtlCol="0" anchor="ctr"/>
          <a:lstStyle/>
          <a:p>
            <a:pPr algn="ctr"/>
            <a:r>
              <a:rPr lang="ru-RU" sz="1600" dirty="0"/>
              <a:t>*******</a:t>
            </a: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="" xmlns:a16="http://schemas.microsoft.com/office/drawing/2014/main" id="{C18164B5-3E2C-CE51-5542-D4A01EFD4CC3}"/>
              </a:ext>
            </a:extLst>
          </p:cNvPr>
          <p:cNvCxnSpPr>
            <a:cxnSpLocks/>
          </p:cNvCxnSpPr>
          <p:nvPr/>
        </p:nvCxnSpPr>
        <p:spPr>
          <a:xfrm>
            <a:off x="8752766" y="3336587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="" xmlns:a16="http://schemas.microsoft.com/office/drawing/2014/main" id="{CD0F6134-ED4A-44AA-09AA-04409C269A8E}"/>
              </a:ext>
            </a:extLst>
          </p:cNvPr>
          <p:cNvCxnSpPr>
            <a:cxnSpLocks/>
          </p:cNvCxnSpPr>
          <p:nvPr/>
        </p:nvCxnSpPr>
        <p:spPr>
          <a:xfrm>
            <a:off x="11149795" y="3336587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615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/>
          <p:cNvSpPr txBox="1"/>
          <p:nvPr/>
        </p:nvSpPr>
        <p:spPr>
          <a:xfrm>
            <a:off x="1368424" y="6312012"/>
            <a:ext cx="10794775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400" dirty="0">
                <a:solidFill>
                  <a:srgbClr val="423D67"/>
                </a:solidFill>
                <a:latin typeface="+mj-lt"/>
                <a:cs typeface="Times New Roman" panose="02020603050405020304" pitchFamily="18" charset="0"/>
              </a:rPr>
              <a:t>Постановление Правительства Российской Федерации от 18.09.2020 № 1490 «О лицензировании образовательной деятельности» (вместе с «Положением о лицензировании образовательной деятельности») </a:t>
            </a:r>
          </a:p>
        </p:txBody>
      </p:sp>
      <p:cxnSp>
        <p:nvCxnSpPr>
          <p:cNvPr id="58" name="Прямая соединительная линия 57"/>
          <p:cNvCxnSpPr>
            <a:cxnSpLocks/>
          </p:cNvCxnSpPr>
          <p:nvPr/>
        </p:nvCxnSpPr>
        <p:spPr>
          <a:xfrm>
            <a:off x="1368425" y="6262224"/>
            <a:ext cx="10213975" cy="0"/>
          </a:xfrm>
          <a:prstGeom prst="line">
            <a:avLst/>
          </a:prstGeom>
          <a:ln w="25400">
            <a:solidFill>
              <a:srgbClr val="8A8A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00320515-7B6E-964B-045A-CA3593A38C31}"/>
              </a:ext>
            </a:extLst>
          </p:cNvPr>
          <p:cNvSpPr txBox="1"/>
          <p:nvPr/>
        </p:nvSpPr>
        <p:spPr>
          <a:xfrm>
            <a:off x="1368425" y="356234"/>
            <a:ext cx="8601075" cy="5355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3200" b="1" kern="1200" dirty="0">
                <a:solidFill>
                  <a:srgbClr val="423D67"/>
                </a:solidFill>
              </a:rPr>
              <a:t>БЕССРОЧНАЯ ЛИЦЕНЗИЯ </a:t>
            </a:r>
            <a:r>
              <a:rPr lang="ru-RU" sz="3200" b="1" dirty="0">
                <a:solidFill>
                  <a:srgbClr val="8A8AD0"/>
                </a:solidFill>
              </a:rPr>
              <a:t>с 01.09.2023</a:t>
            </a:r>
            <a:r>
              <a:rPr lang="ru-RU" sz="3200" b="1" kern="1200" dirty="0">
                <a:solidFill>
                  <a:srgbClr val="8A8AD0"/>
                </a:solidFill>
              </a:rPr>
              <a:t>  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58C63208-4EC9-81B8-9C49-C19509550296}"/>
              </a:ext>
            </a:extLst>
          </p:cNvPr>
          <p:cNvSpPr/>
          <p:nvPr/>
        </p:nvSpPr>
        <p:spPr>
          <a:xfrm>
            <a:off x="3934357" y="1512617"/>
            <a:ext cx="2549348" cy="3389583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r>
              <a:rPr lang="ru-RU" b="1" dirty="0"/>
              <a:t>Документы, прилагаемые </a:t>
            </a:r>
          </a:p>
          <a:p>
            <a:pPr algn="ctr"/>
            <a:r>
              <a:rPr lang="ru-RU" b="1" dirty="0"/>
              <a:t>к заявлению 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9971DAD2-7977-3487-5786-C5D1250579B3}"/>
              </a:ext>
            </a:extLst>
          </p:cNvPr>
          <p:cNvSpPr/>
          <p:nvPr/>
        </p:nvSpPr>
        <p:spPr>
          <a:xfrm>
            <a:off x="6483704" y="1512617"/>
            <a:ext cx="2549348" cy="3389583"/>
          </a:xfrm>
          <a:prstGeom prst="rect">
            <a:avLst/>
          </a:prstGeom>
          <a:solidFill>
            <a:srgbClr val="6E67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r>
              <a:rPr lang="ru-RU" b="1" dirty="0"/>
              <a:t>Лицензионные требования</a:t>
            </a:r>
          </a:p>
          <a:p>
            <a:pPr algn="ctr"/>
            <a:endParaRPr lang="ru-RU" b="1" dirty="0"/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029D92BD-B759-5D33-25D0-3E3D65189DF6}"/>
              </a:ext>
            </a:extLst>
          </p:cNvPr>
          <p:cNvSpPr/>
          <p:nvPr/>
        </p:nvSpPr>
        <p:spPr>
          <a:xfrm>
            <a:off x="9033052" y="1512617"/>
            <a:ext cx="2549348" cy="3389583"/>
          </a:xfrm>
          <a:prstGeom prst="rect">
            <a:avLst/>
          </a:prstGeom>
          <a:solidFill>
            <a:srgbClr val="423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r>
              <a:rPr lang="ru-RU" b="1" dirty="0"/>
              <a:t>Государственная пошлина </a:t>
            </a:r>
            <a:br>
              <a:rPr lang="ru-RU" b="1" dirty="0"/>
            </a:br>
            <a:r>
              <a:rPr lang="ru-RU" b="1" dirty="0">
                <a:solidFill>
                  <a:srgbClr val="CDCDEB"/>
                </a:solidFill>
              </a:rPr>
              <a:t>7500 рублей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1C8F3701-B1D8-0601-FBE3-941723BF1889}"/>
              </a:ext>
            </a:extLst>
          </p:cNvPr>
          <p:cNvSpPr/>
          <p:nvPr/>
        </p:nvSpPr>
        <p:spPr>
          <a:xfrm>
            <a:off x="1385009" y="1512617"/>
            <a:ext cx="2549348" cy="3389583"/>
          </a:xfrm>
          <a:prstGeom prst="rect">
            <a:avLst/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r>
              <a:rPr lang="ru-RU" b="1" dirty="0"/>
              <a:t>Заявление </a:t>
            </a:r>
            <a:br>
              <a:rPr lang="ru-RU" b="1" dirty="0"/>
            </a:br>
            <a:r>
              <a:rPr lang="ru-RU" b="1" dirty="0"/>
              <a:t>о предоставлении лицензии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C06EEAEC-0BB0-6B63-06B4-31695C80B34A}"/>
              </a:ext>
            </a:extLst>
          </p:cNvPr>
          <p:cNvSpPr/>
          <p:nvPr/>
        </p:nvSpPr>
        <p:spPr>
          <a:xfrm>
            <a:off x="1368424" y="1512618"/>
            <a:ext cx="10213975" cy="4206098"/>
          </a:xfrm>
          <a:prstGeom prst="rect">
            <a:avLst/>
          </a:prstGeom>
          <a:noFill/>
          <a:ln w="38100">
            <a:solidFill>
              <a:srgbClr val="B4B3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8000" rtlCol="0" anchor="b"/>
          <a:lstStyle/>
          <a:p>
            <a:pPr algn="ctr"/>
            <a:r>
              <a:rPr lang="ru-RU" dirty="0">
                <a:solidFill>
                  <a:srgbClr val="423D67"/>
                </a:solidFill>
              </a:rPr>
              <a:t>Подготовка и направление документов в лицензирующий орган согласно плану-графику</a:t>
            </a:r>
          </a:p>
        </p:txBody>
      </p:sp>
      <p:pic>
        <p:nvPicPr>
          <p:cNvPr id="33" name="Рисунок 32">
            <a:extLst>
              <a:ext uri="{FF2B5EF4-FFF2-40B4-BE49-F238E27FC236}">
                <a16:creationId xmlns="" xmlns:a16="http://schemas.microsoft.com/office/drawing/2014/main" id="{52167D39-3932-0A32-1720-A7ADD2B3953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335683" y="2256871"/>
            <a:ext cx="648000" cy="824727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="" xmlns:a16="http://schemas.microsoft.com/office/drawing/2014/main" id="{1C178647-D092-22B0-2280-181ED0A73A5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927873" y="2256871"/>
            <a:ext cx="562313" cy="824727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="" xmlns:a16="http://schemas.microsoft.com/office/drawing/2014/main" id="{DF8C96CA-F1CD-3C09-11F8-7C70F96AE99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434378" y="2206228"/>
            <a:ext cx="648000" cy="87537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="" xmlns:a16="http://schemas.microsoft.com/office/drawing/2014/main" id="{4C64E4B5-5531-82A6-13C9-613719D5DE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29726" y="2378748"/>
            <a:ext cx="756000" cy="53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35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лилиния: фигура 5">
            <a:extLst>
              <a:ext uri="{FF2B5EF4-FFF2-40B4-BE49-F238E27FC236}">
                <a16:creationId xmlns="" xmlns:a16="http://schemas.microsoft.com/office/drawing/2014/main" id="{1842C6E6-F5A0-4573-CE2D-5F635EEDB993}"/>
              </a:ext>
            </a:extLst>
          </p:cNvPr>
          <p:cNvSpPr/>
          <p:nvPr/>
        </p:nvSpPr>
        <p:spPr>
          <a:xfrm>
            <a:off x="2819400" y="2396762"/>
            <a:ext cx="9144000" cy="609398"/>
          </a:xfrm>
          <a:custGeom>
            <a:avLst/>
            <a:gdLst>
              <a:gd name="connsiteX0" fmla="*/ 0 w 1983223"/>
              <a:gd name="connsiteY0" fmla="*/ 198322 h 2469013"/>
              <a:gd name="connsiteX1" fmla="*/ 198322 w 1983223"/>
              <a:gd name="connsiteY1" fmla="*/ 0 h 2469013"/>
              <a:gd name="connsiteX2" fmla="*/ 1784901 w 1983223"/>
              <a:gd name="connsiteY2" fmla="*/ 0 h 2469013"/>
              <a:gd name="connsiteX3" fmla="*/ 1983223 w 1983223"/>
              <a:gd name="connsiteY3" fmla="*/ 198322 h 2469013"/>
              <a:gd name="connsiteX4" fmla="*/ 1983223 w 1983223"/>
              <a:gd name="connsiteY4" fmla="*/ 2270691 h 2469013"/>
              <a:gd name="connsiteX5" fmla="*/ 1784901 w 1983223"/>
              <a:gd name="connsiteY5" fmla="*/ 2469013 h 2469013"/>
              <a:gd name="connsiteX6" fmla="*/ 198322 w 1983223"/>
              <a:gd name="connsiteY6" fmla="*/ 2469013 h 2469013"/>
              <a:gd name="connsiteX7" fmla="*/ 0 w 1983223"/>
              <a:gd name="connsiteY7" fmla="*/ 2270691 h 2469013"/>
              <a:gd name="connsiteX8" fmla="*/ 0 w 1983223"/>
              <a:gd name="connsiteY8" fmla="*/ 198322 h 2469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3223" h="2469013">
                <a:moveTo>
                  <a:pt x="0" y="198322"/>
                </a:moveTo>
                <a:cubicBezTo>
                  <a:pt x="0" y="88792"/>
                  <a:pt x="88792" y="0"/>
                  <a:pt x="198322" y="0"/>
                </a:cubicBezTo>
                <a:lnTo>
                  <a:pt x="1784901" y="0"/>
                </a:lnTo>
                <a:cubicBezTo>
                  <a:pt x="1894431" y="0"/>
                  <a:pt x="1983223" y="88792"/>
                  <a:pt x="1983223" y="198322"/>
                </a:cubicBezTo>
                <a:lnTo>
                  <a:pt x="1983223" y="2270691"/>
                </a:lnTo>
                <a:cubicBezTo>
                  <a:pt x="1983223" y="2380221"/>
                  <a:pt x="1894431" y="2469013"/>
                  <a:pt x="1784901" y="2469013"/>
                </a:cubicBezTo>
                <a:lnTo>
                  <a:pt x="198322" y="2469013"/>
                </a:lnTo>
                <a:cubicBezTo>
                  <a:pt x="88792" y="2469013"/>
                  <a:pt x="0" y="2380221"/>
                  <a:pt x="0" y="2270691"/>
                </a:cubicBezTo>
                <a:lnTo>
                  <a:pt x="0" y="198322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2200" dirty="0">
                <a:solidFill>
                  <a:srgbClr val="423D67"/>
                </a:solidFill>
              </a:rPr>
              <a:t>Наличие на праве собственности или ином законном основании зданий, строений, сооружений, помещений </a:t>
            </a:r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="" xmlns:a16="http://schemas.microsoft.com/office/drawing/2014/main" id="{93B67DEF-B111-7E7C-5E0D-F1E4A4B82FE5}"/>
              </a:ext>
            </a:extLst>
          </p:cNvPr>
          <p:cNvSpPr/>
          <p:nvPr/>
        </p:nvSpPr>
        <p:spPr>
          <a:xfrm>
            <a:off x="2819400" y="3377837"/>
            <a:ext cx="6693371" cy="609398"/>
          </a:xfrm>
          <a:custGeom>
            <a:avLst/>
            <a:gdLst>
              <a:gd name="connsiteX0" fmla="*/ 0 w 1912515"/>
              <a:gd name="connsiteY0" fmla="*/ 191252 h 2444844"/>
              <a:gd name="connsiteX1" fmla="*/ 191252 w 1912515"/>
              <a:gd name="connsiteY1" fmla="*/ 0 h 2444844"/>
              <a:gd name="connsiteX2" fmla="*/ 1721264 w 1912515"/>
              <a:gd name="connsiteY2" fmla="*/ 0 h 2444844"/>
              <a:gd name="connsiteX3" fmla="*/ 1912516 w 1912515"/>
              <a:gd name="connsiteY3" fmla="*/ 191252 h 2444844"/>
              <a:gd name="connsiteX4" fmla="*/ 1912515 w 1912515"/>
              <a:gd name="connsiteY4" fmla="*/ 2253593 h 2444844"/>
              <a:gd name="connsiteX5" fmla="*/ 1721263 w 1912515"/>
              <a:gd name="connsiteY5" fmla="*/ 2444845 h 2444844"/>
              <a:gd name="connsiteX6" fmla="*/ 191252 w 1912515"/>
              <a:gd name="connsiteY6" fmla="*/ 2444844 h 2444844"/>
              <a:gd name="connsiteX7" fmla="*/ 0 w 1912515"/>
              <a:gd name="connsiteY7" fmla="*/ 2253592 h 2444844"/>
              <a:gd name="connsiteX8" fmla="*/ 0 w 1912515"/>
              <a:gd name="connsiteY8" fmla="*/ 191252 h 2444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515" h="2444844">
                <a:moveTo>
                  <a:pt x="0" y="191252"/>
                </a:moveTo>
                <a:cubicBezTo>
                  <a:pt x="0" y="85626"/>
                  <a:pt x="85626" y="0"/>
                  <a:pt x="191252" y="0"/>
                </a:cubicBezTo>
                <a:lnTo>
                  <a:pt x="1721264" y="0"/>
                </a:lnTo>
                <a:cubicBezTo>
                  <a:pt x="1826890" y="0"/>
                  <a:pt x="1912516" y="85626"/>
                  <a:pt x="1912516" y="191252"/>
                </a:cubicBezTo>
                <a:cubicBezTo>
                  <a:pt x="1912516" y="878699"/>
                  <a:pt x="1912515" y="1566146"/>
                  <a:pt x="1912515" y="2253593"/>
                </a:cubicBezTo>
                <a:cubicBezTo>
                  <a:pt x="1912515" y="2359219"/>
                  <a:pt x="1826889" y="2444845"/>
                  <a:pt x="1721263" y="2444845"/>
                </a:cubicBezTo>
                <a:lnTo>
                  <a:pt x="191252" y="2444844"/>
                </a:lnTo>
                <a:cubicBezTo>
                  <a:pt x="85626" y="2444844"/>
                  <a:pt x="0" y="2359218"/>
                  <a:pt x="0" y="2253592"/>
                </a:cubicBezTo>
                <a:lnTo>
                  <a:pt x="0" y="191252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2200" dirty="0">
                <a:solidFill>
                  <a:srgbClr val="423D67"/>
                </a:solidFill>
              </a:rPr>
              <a:t>Наличие материально-технического обеспечения образовательной деятельности</a:t>
            </a:r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="" xmlns:a16="http://schemas.microsoft.com/office/drawing/2014/main" id="{912C83C5-29F7-44E2-E1E4-15AD42D69B1E}"/>
              </a:ext>
            </a:extLst>
          </p:cNvPr>
          <p:cNvSpPr/>
          <p:nvPr/>
        </p:nvSpPr>
        <p:spPr>
          <a:xfrm>
            <a:off x="2819400" y="4358912"/>
            <a:ext cx="7227691" cy="609398"/>
          </a:xfrm>
          <a:custGeom>
            <a:avLst/>
            <a:gdLst>
              <a:gd name="connsiteX0" fmla="*/ 0 w 1958227"/>
              <a:gd name="connsiteY0" fmla="*/ 195823 h 2456224"/>
              <a:gd name="connsiteX1" fmla="*/ 195823 w 1958227"/>
              <a:gd name="connsiteY1" fmla="*/ 0 h 2456224"/>
              <a:gd name="connsiteX2" fmla="*/ 1762404 w 1958227"/>
              <a:gd name="connsiteY2" fmla="*/ 0 h 2456224"/>
              <a:gd name="connsiteX3" fmla="*/ 1958227 w 1958227"/>
              <a:gd name="connsiteY3" fmla="*/ 195823 h 2456224"/>
              <a:gd name="connsiteX4" fmla="*/ 1958227 w 1958227"/>
              <a:gd name="connsiteY4" fmla="*/ 2260401 h 2456224"/>
              <a:gd name="connsiteX5" fmla="*/ 1762404 w 1958227"/>
              <a:gd name="connsiteY5" fmla="*/ 2456224 h 2456224"/>
              <a:gd name="connsiteX6" fmla="*/ 195823 w 1958227"/>
              <a:gd name="connsiteY6" fmla="*/ 2456224 h 2456224"/>
              <a:gd name="connsiteX7" fmla="*/ 0 w 1958227"/>
              <a:gd name="connsiteY7" fmla="*/ 2260401 h 2456224"/>
              <a:gd name="connsiteX8" fmla="*/ 0 w 1958227"/>
              <a:gd name="connsiteY8" fmla="*/ 195823 h 2456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58227" h="2456224">
                <a:moveTo>
                  <a:pt x="0" y="195823"/>
                </a:moveTo>
                <a:cubicBezTo>
                  <a:pt x="0" y="87673"/>
                  <a:pt x="87673" y="0"/>
                  <a:pt x="195823" y="0"/>
                </a:cubicBezTo>
                <a:lnTo>
                  <a:pt x="1762404" y="0"/>
                </a:lnTo>
                <a:cubicBezTo>
                  <a:pt x="1870554" y="0"/>
                  <a:pt x="1958227" y="87673"/>
                  <a:pt x="1958227" y="195823"/>
                </a:cubicBezTo>
                <a:lnTo>
                  <a:pt x="1958227" y="2260401"/>
                </a:lnTo>
                <a:cubicBezTo>
                  <a:pt x="1958227" y="2368551"/>
                  <a:pt x="1870554" y="2456224"/>
                  <a:pt x="1762404" y="2456224"/>
                </a:cubicBezTo>
                <a:lnTo>
                  <a:pt x="195823" y="2456224"/>
                </a:lnTo>
                <a:cubicBezTo>
                  <a:pt x="87673" y="2456224"/>
                  <a:pt x="0" y="2368551"/>
                  <a:pt x="0" y="2260401"/>
                </a:cubicBezTo>
                <a:lnTo>
                  <a:pt x="0" y="195823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2200" dirty="0">
                <a:solidFill>
                  <a:srgbClr val="423D67"/>
                </a:solidFill>
              </a:rPr>
              <a:t>Наличие разработанных </a:t>
            </a:r>
            <a:br>
              <a:rPr lang="ru-RU" sz="2200" dirty="0">
                <a:solidFill>
                  <a:srgbClr val="423D67"/>
                </a:solidFill>
              </a:rPr>
            </a:br>
            <a:r>
              <a:rPr lang="ru-RU" sz="2200" dirty="0">
                <a:solidFill>
                  <a:srgbClr val="423D67"/>
                </a:solidFill>
              </a:rPr>
              <a:t>и утвержденных образовательных программ</a:t>
            </a: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="" xmlns:a16="http://schemas.microsoft.com/office/drawing/2014/main" id="{37400859-AFC2-5B13-D098-740B00759044}"/>
              </a:ext>
            </a:extLst>
          </p:cNvPr>
          <p:cNvSpPr/>
          <p:nvPr/>
        </p:nvSpPr>
        <p:spPr>
          <a:xfrm>
            <a:off x="2819400" y="5339987"/>
            <a:ext cx="10036174" cy="609398"/>
          </a:xfrm>
          <a:custGeom>
            <a:avLst/>
            <a:gdLst>
              <a:gd name="connsiteX0" fmla="*/ 0 w 1865147"/>
              <a:gd name="connsiteY0" fmla="*/ 186515 h 2461027"/>
              <a:gd name="connsiteX1" fmla="*/ 186515 w 1865147"/>
              <a:gd name="connsiteY1" fmla="*/ 0 h 2461027"/>
              <a:gd name="connsiteX2" fmla="*/ 1678632 w 1865147"/>
              <a:gd name="connsiteY2" fmla="*/ 0 h 2461027"/>
              <a:gd name="connsiteX3" fmla="*/ 1865147 w 1865147"/>
              <a:gd name="connsiteY3" fmla="*/ 186515 h 2461027"/>
              <a:gd name="connsiteX4" fmla="*/ 1865147 w 1865147"/>
              <a:gd name="connsiteY4" fmla="*/ 2274512 h 2461027"/>
              <a:gd name="connsiteX5" fmla="*/ 1678632 w 1865147"/>
              <a:gd name="connsiteY5" fmla="*/ 2461027 h 2461027"/>
              <a:gd name="connsiteX6" fmla="*/ 186515 w 1865147"/>
              <a:gd name="connsiteY6" fmla="*/ 2461027 h 2461027"/>
              <a:gd name="connsiteX7" fmla="*/ 0 w 1865147"/>
              <a:gd name="connsiteY7" fmla="*/ 2274512 h 2461027"/>
              <a:gd name="connsiteX8" fmla="*/ 0 w 1865147"/>
              <a:gd name="connsiteY8" fmla="*/ 186515 h 2461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65147" h="2461027">
                <a:moveTo>
                  <a:pt x="0" y="186515"/>
                </a:moveTo>
                <a:cubicBezTo>
                  <a:pt x="0" y="83506"/>
                  <a:pt x="83506" y="0"/>
                  <a:pt x="186515" y="0"/>
                </a:cubicBezTo>
                <a:lnTo>
                  <a:pt x="1678632" y="0"/>
                </a:lnTo>
                <a:cubicBezTo>
                  <a:pt x="1781641" y="0"/>
                  <a:pt x="1865147" y="83506"/>
                  <a:pt x="1865147" y="186515"/>
                </a:cubicBezTo>
                <a:lnTo>
                  <a:pt x="1865147" y="2274512"/>
                </a:lnTo>
                <a:cubicBezTo>
                  <a:pt x="1865147" y="2377521"/>
                  <a:pt x="1781641" y="2461027"/>
                  <a:pt x="1678632" y="2461027"/>
                </a:cubicBezTo>
                <a:lnTo>
                  <a:pt x="186515" y="2461027"/>
                </a:lnTo>
                <a:cubicBezTo>
                  <a:pt x="83506" y="2461027"/>
                  <a:pt x="0" y="2377521"/>
                  <a:pt x="0" y="2274512"/>
                </a:cubicBezTo>
                <a:lnTo>
                  <a:pt x="0" y="186515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2200" dirty="0">
                <a:solidFill>
                  <a:srgbClr val="423D67"/>
                </a:solidFill>
              </a:rPr>
              <a:t>Наличие санитарно-эпидемиологического заключения </a:t>
            </a:r>
            <a:br>
              <a:rPr lang="ru-RU" sz="2200" dirty="0">
                <a:solidFill>
                  <a:srgbClr val="423D67"/>
                </a:solidFill>
              </a:rPr>
            </a:br>
            <a:r>
              <a:rPr lang="ru-RU" sz="2200" dirty="0">
                <a:solidFill>
                  <a:srgbClr val="423D67"/>
                </a:solidFill>
              </a:rPr>
              <a:t>о соответствии санитарным правилам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91303431-0559-18E1-BCD2-6E2981954473}"/>
              </a:ext>
            </a:extLst>
          </p:cNvPr>
          <p:cNvSpPr txBox="1"/>
          <p:nvPr/>
        </p:nvSpPr>
        <p:spPr>
          <a:xfrm>
            <a:off x="1368425" y="356234"/>
            <a:ext cx="10036175" cy="107721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244600">
              <a:spcBef>
                <a:spcPct val="0"/>
              </a:spcBef>
            </a:pPr>
            <a:r>
              <a:rPr lang="ru-RU" sz="3200" b="1" kern="1200" dirty="0">
                <a:solidFill>
                  <a:srgbClr val="423D67"/>
                </a:solidFill>
              </a:rPr>
              <a:t>ОБЯЗАТЕЛЬНЫЕ </a:t>
            </a:r>
          </a:p>
          <a:p>
            <a:pPr defTabSz="1244600">
              <a:spcBef>
                <a:spcPct val="0"/>
              </a:spcBef>
            </a:pPr>
            <a:r>
              <a:rPr lang="ru-RU" sz="3200" b="1" kern="1200" dirty="0">
                <a:solidFill>
                  <a:srgbClr val="423D67"/>
                </a:solidFill>
              </a:rPr>
              <a:t>ЛИЦЕНЗИОННЫЕ ТРЕБОВАНИЯ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FDDDED35-8F9C-A8CC-CC03-933FB2CFE306}"/>
              </a:ext>
            </a:extLst>
          </p:cNvPr>
          <p:cNvCxnSpPr>
            <a:cxnSpLocks/>
          </p:cNvCxnSpPr>
          <p:nvPr/>
        </p:nvCxnSpPr>
        <p:spPr>
          <a:xfrm>
            <a:off x="2819400" y="2210924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="" xmlns:a16="http://schemas.microsoft.com/office/drawing/2014/main" id="{1FBB3799-64CD-F976-7332-4F680F7CBBAD}"/>
              </a:ext>
            </a:extLst>
          </p:cNvPr>
          <p:cNvCxnSpPr>
            <a:cxnSpLocks/>
          </p:cNvCxnSpPr>
          <p:nvPr/>
        </p:nvCxnSpPr>
        <p:spPr>
          <a:xfrm>
            <a:off x="2819400" y="3191998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="" xmlns:a16="http://schemas.microsoft.com/office/drawing/2014/main" id="{8D2C3C62-D4EA-ABB2-2298-C7183681D512}"/>
              </a:ext>
            </a:extLst>
          </p:cNvPr>
          <p:cNvCxnSpPr>
            <a:cxnSpLocks/>
          </p:cNvCxnSpPr>
          <p:nvPr/>
        </p:nvCxnSpPr>
        <p:spPr>
          <a:xfrm>
            <a:off x="2819400" y="4173073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A8C1EAB9-A0AA-A445-CDB1-97E5AAEECC94}"/>
              </a:ext>
            </a:extLst>
          </p:cNvPr>
          <p:cNvCxnSpPr>
            <a:cxnSpLocks/>
          </p:cNvCxnSpPr>
          <p:nvPr/>
        </p:nvCxnSpPr>
        <p:spPr>
          <a:xfrm>
            <a:off x="2819400" y="5154148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="" xmlns:a16="http://schemas.microsoft.com/office/drawing/2014/main" id="{D144A849-44AA-0DE6-6FEF-D0B7F8DC0D86}"/>
              </a:ext>
            </a:extLst>
          </p:cNvPr>
          <p:cNvCxnSpPr>
            <a:cxnSpLocks/>
          </p:cNvCxnSpPr>
          <p:nvPr/>
        </p:nvCxnSpPr>
        <p:spPr>
          <a:xfrm>
            <a:off x="2819400" y="6135224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="" xmlns:a16="http://schemas.microsoft.com/office/drawing/2014/main" id="{6A0136D9-A8C3-20DB-D096-733E8BF8D5B3}"/>
              </a:ext>
            </a:extLst>
          </p:cNvPr>
          <p:cNvCxnSpPr>
            <a:cxnSpLocks/>
          </p:cNvCxnSpPr>
          <p:nvPr/>
        </p:nvCxnSpPr>
        <p:spPr>
          <a:xfrm>
            <a:off x="1378998" y="2210924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="" xmlns:a16="http://schemas.microsoft.com/office/drawing/2014/main" id="{BE502CCE-8A25-965F-8C94-92B30B02F0E1}"/>
              </a:ext>
            </a:extLst>
          </p:cNvPr>
          <p:cNvCxnSpPr>
            <a:cxnSpLocks/>
          </p:cNvCxnSpPr>
          <p:nvPr/>
        </p:nvCxnSpPr>
        <p:spPr>
          <a:xfrm>
            <a:off x="1378998" y="3192000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="" xmlns:a16="http://schemas.microsoft.com/office/drawing/2014/main" id="{BA357037-A890-1005-A5E0-A388D2FF616F}"/>
              </a:ext>
            </a:extLst>
          </p:cNvPr>
          <p:cNvCxnSpPr>
            <a:cxnSpLocks/>
          </p:cNvCxnSpPr>
          <p:nvPr/>
        </p:nvCxnSpPr>
        <p:spPr>
          <a:xfrm>
            <a:off x="1378998" y="4173076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="" xmlns:a16="http://schemas.microsoft.com/office/drawing/2014/main" id="{C77CE4BF-D0BA-0017-A3E3-E6A264D81180}"/>
              </a:ext>
            </a:extLst>
          </p:cNvPr>
          <p:cNvCxnSpPr>
            <a:cxnSpLocks/>
          </p:cNvCxnSpPr>
          <p:nvPr/>
        </p:nvCxnSpPr>
        <p:spPr>
          <a:xfrm>
            <a:off x="1378998" y="5154152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B3AF87AB-9409-0A8D-B06D-748010EA9D6B}"/>
              </a:ext>
            </a:extLst>
          </p:cNvPr>
          <p:cNvCxnSpPr>
            <a:cxnSpLocks/>
          </p:cNvCxnSpPr>
          <p:nvPr/>
        </p:nvCxnSpPr>
        <p:spPr>
          <a:xfrm>
            <a:off x="1378998" y="6135224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FA8A8DE1-C766-F04D-97E4-44DD422F3B4F}"/>
              </a:ext>
            </a:extLst>
          </p:cNvPr>
          <p:cNvSpPr/>
          <p:nvPr/>
        </p:nvSpPr>
        <p:spPr>
          <a:xfrm>
            <a:off x="1596399" y="3484538"/>
            <a:ext cx="396000" cy="39600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endParaRPr lang="ru-RU" b="1" dirty="0"/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C584BCAE-1A25-4109-B2F8-A579DCA5AB93}"/>
              </a:ext>
            </a:extLst>
          </p:cNvPr>
          <p:cNvSpPr/>
          <p:nvPr/>
        </p:nvSpPr>
        <p:spPr>
          <a:xfrm>
            <a:off x="1596399" y="4465614"/>
            <a:ext cx="396000" cy="396000"/>
          </a:xfrm>
          <a:prstGeom prst="rect">
            <a:avLst/>
          </a:prstGeom>
          <a:solidFill>
            <a:srgbClr val="6E67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endParaRPr lang="ru-RU" b="1" dirty="0"/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51AEDF71-9EDB-081A-1E32-9CF267DC2F5D}"/>
              </a:ext>
            </a:extLst>
          </p:cNvPr>
          <p:cNvSpPr/>
          <p:nvPr/>
        </p:nvSpPr>
        <p:spPr>
          <a:xfrm>
            <a:off x="1596399" y="5446690"/>
            <a:ext cx="396000" cy="396000"/>
          </a:xfrm>
          <a:prstGeom prst="rect">
            <a:avLst/>
          </a:prstGeom>
          <a:solidFill>
            <a:srgbClr val="423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endParaRPr lang="ru-RU" b="1" dirty="0">
              <a:solidFill>
                <a:srgbClr val="CDCDEB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C30AE09B-2BCE-57CD-070A-375442FC8DD2}"/>
              </a:ext>
            </a:extLst>
          </p:cNvPr>
          <p:cNvSpPr/>
          <p:nvPr/>
        </p:nvSpPr>
        <p:spPr>
          <a:xfrm>
            <a:off x="1596399" y="2503462"/>
            <a:ext cx="396000" cy="396000"/>
          </a:xfrm>
          <a:prstGeom prst="rect">
            <a:avLst/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77404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9D79CA05-54A9-CEFE-61AF-44385CDE6562}"/>
              </a:ext>
            </a:extLst>
          </p:cNvPr>
          <p:cNvSpPr txBox="1"/>
          <p:nvPr/>
        </p:nvSpPr>
        <p:spPr>
          <a:xfrm>
            <a:off x="1368425" y="356234"/>
            <a:ext cx="10036175" cy="58477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244600">
              <a:spcBef>
                <a:spcPct val="0"/>
              </a:spcBef>
            </a:pPr>
            <a:r>
              <a:rPr lang="ru-RU" sz="3200" b="1" kern="1200" dirty="0">
                <a:solidFill>
                  <a:srgbClr val="423D67"/>
                </a:solidFill>
              </a:rPr>
              <a:t>МОНИТОРИНГ ПОЛУЧЕНИЯ ЛИЦЕНЗИЙ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="" xmlns:a16="http://schemas.microsoft.com/office/drawing/2014/main" id="{7DF80196-5B30-7F3E-1CE3-6E7C13F1CA6C}"/>
              </a:ext>
            </a:extLst>
          </p:cNvPr>
          <p:cNvSpPr/>
          <p:nvPr/>
        </p:nvSpPr>
        <p:spPr>
          <a:xfrm>
            <a:off x="1368425" y="2178803"/>
            <a:ext cx="2841705" cy="2841705"/>
          </a:xfrm>
          <a:prstGeom prst="ellipse">
            <a:avLst/>
          </a:prstGeom>
          <a:noFill/>
          <a:ln w="254000">
            <a:solidFill>
              <a:srgbClr val="8A8A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rgbClr val="423D67"/>
              </a:solidFill>
            </a:endParaRP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="" xmlns:a16="http://schemas.microsoft.com/office/drawing/2014/main" id="{4CAB48B2-ED9F-10D9-EFFD-A4AA45374490}"/>
              </a:ext>
            </a:extLst>
          </p:cNvPr>
          <p:cNvCxnSpPr>
            <a:cxnSpLocks/>
          </p:cNvCxnSpPr>
          <p:nvPr/>
        </p:nvCxnSpPr>
        <p:spPr>
          <a:xfrm>
            <a:off x="3737708" y="4548086"/>
            <a:ext cx="944844" cy="944844"/>
          </a:xfrm>
          <a:prstGeom prst="line">
            <a:avLst/>
          </a:prstGeom>
          <a:noFill/>
          <a:ln w="254000">
            <a:solidFill>
              <a:srgbClr val="8A8A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E135C778-2240-02DC-32E9-26D1CCBA91A2}"/>
              </a:ext>
            </a:extLst>
          </p:cNvPr>
          <p:cNvSpPr txBox="1"/>
          <p:nvPr/>
        </p:nvSpPr>
        <p:spPr>
          <a:xfrm>
            <a:off x="1368425" y="3276490"/>
            <a:ext cx="291957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423D67"/>
                </a:solidFill>
              </a:rPr>
              <a:t>Лицензирующие </a:t>
            </a:r>
            <a:br>
              <a:rPr lang="ru-RU" sz="2000" b="1" dirty="0">
                <a:solidFill>
                  <a:srgbClr val="423D67"/>
                </a:solidFill>
              </a:rPr>
            </a:br>
            <a:r>
              <a:rPr lang="ru-RU" sz="2000" b="1" dirty="0">
                <a:solidFill>
                  <a:srgbClr val="423D67"/>
                </a:solidFill>
              </a:rPr>
              <a:t>органы</a:t>
            </a:r>
          </a:p>
        </p:txBody>
      </p:sp>
      <p:sp>
        <p:nvSpPr>
          <p:cNvPr id="22" name="Овал 21">
            <a:extLst>
              <a:ext uri="{FF2B5EF4-FFF2-40B4-BE49-F238E27FC236}">
                <a16:creationId xmlns="" xmlns:a16="http://schemas.microsoft.com/office/drawing/2014/main" id="{2A9500B9-5331-527E-AD12-80C342E5659E}"/>
              </a:ext>
            </a:extLst>
          </p:cNvPr>
          <p:cNvSpPr/>
          <p:nvPr/>
        </p:nvSpPr>
        <p:spPr>
          <a:xfrm>
            <a:off x="4864828" y="2178803"/>
            <a:ext cx="2841705" cy="2841705"/>
          </a:xfrm>
          <a:prstGeom prst="ellipse">
            <a:avLst/>
          </a:prstGeom>
          <a:noFill/>
          <a:ln w="254000">
            <a:solidFill>
              <a:srgbClr val="6E67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rgbClr val="423D67"/>
              </a:solidFill>
            </a:endParaRP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="" xmlns:a16="http://schemas.microsoft.com/office/drawing/2014/main" id="{1F99C55B-B477-3106-F20E-EA2A10B26F3B}"/>
              </a:ext>
            </a:extLst>
          </p:cNvPr>
          <p:cNvCxnSpPr/>
          <p:nvPr/>
        </p:nvCxnSpPr>
        <p:spPr>
          <a:xfrm>
            <a:off x="7234111" y="4548086"/>
            <a:ext cx="944844" cy="944844"/>
          </a:xfrm>
          <a:prstGeom prst="line">
            <a:avLst/>
          </a:prstGeom>
          <a:noFill/>
          <a:ln w="254000">
            <a:solidFill>
              <a:srgbClr val="6E67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1F62D390-10AE-DFF6-DE5A-2BB13D990943}"/>
              </a:ext>
            </a:extLst>
          </p:cNvPr>
          <p:cNvSpPr txBox="1"/>
          <p:nvPr/>
        </p:nvSpPr>
        <p:spPr>
          <a:xfrm>
            <a:off x="4864828" y="3399601"/>
            <a:ext cx="29195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423D67"/>
                </a:solidFill>
              </a:rPr>
              <a:t>Рособрнадзор</a:t>
            </a:r>
          </a:p>
        </p:txBody>
      </p:sp>
      <p:sp>
        <p:nvSpPr>
          <p:cNvPr id="25" name="Овал 24">
            <a:extLst>
              <a:ext uri="{FF2B5EF4-FFF2-40B4-BE49-F238E27FC236}">
                <a16:creationId xmlns="" xmlns:a16="http://schemas.microsoft.com/office/drawing/2014/main" id="{8BF462D2-E56A-EA47-C760-D9ECF761AAF2}"/>
              </a:ext>
            </a:extLst>
          </p:cNvPr>
          <p:cNvSpPr/>
          <p:nvPr/>
        </p:nvSpPr>
        <p:spPr>
          <a:xfrm>
            <a:off x="8361231" y="2178803"/>
            <a:ext cx="2841705" cy="2841705"/>
          </a:xfrm>
          <a:prstGeom prst="ellipse">
            <a:avLst/>
          </a:prstGeom>
          <a:noFill/>
          <a:ln w="254000">
            <a:solidFill>
              <a:srgbClr val="423D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rgbClr val="423D67"/>
              </a:solidFill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5B9EB7AF-B938-B8E7-F29F-AABA69DD3C0F}"/>
              </a:ext>
            </a:extLst>
          </p:cNvPr>
          <p:cNvCxnSpPr/>
          <p:nvPr/>
        </p:nvCxnSpPr>
        <p:spPr>
          <a:xfrm>
            <a:off x="10730514" y="4548086"/>
            <a:ext cx="944844" cy="944844"/>
          </a:xfrm>
          <a:prstGeom prst="line">
            <a:avLst/>
          </a:prstGeom>
          <a:noFill/>
          <a:ln w="254000">
            <a:solidFill>
              <a:srgbClr val="423D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50D4A32C-C688-25AE-C0FB-495CBC59787E}"/>
              </a:ext>
            </a:extLst>
          </p:cNvPr>
          <p:cNvSpPr txBox="1"/>
          <p:nvPr/>
        </p:nvSpPr>
        <p:spPr>
          <a:xfrm>
            <a:off x="8361231" y="3399601"/>
            <a:ext cx="29195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423D67"/>
                </a:solidFill>
              </a:rPr>
              <a:t>Минспорт России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="" xmlns:a16="http://schemas.microsoft.com/office/drawing/2014/main" id="{A203B45C-46E3-996D-342D-DECF03FD8582}"/>
              </a:ext>
            </a:extLst>
          </p:cNvPr>
          <p:cNvGrpSpPr/>
          <p:nvPr/>
        </p:nvGrpSpPr>
        <p:grpSpPr>
          <a:xfrm>
            <a:off x="1368425" y="2008590"/>
            <a:ext cx="355268" cy="340425"/>
            <a:chOff x="1929867" y="1414915"/>
            <a:chExt cx="606390" cy="581055"/>
          </a:xfrm>
        </p:grpSpPr>
        <p:sp>
          <p:nvSpPr>
            <p:cNvPr id="2" name="Прямоугольник 1">
              <a:extLst>
                <a:ext uri="{FF2B5EF4-FFF2-40B4-BE49-F238E27FC236}">
                  <a16:creationId xmlns="" xmlns:a16="http://schemas.microsoft.com/office/drawing/2014/main" id="{88BD1837-3901-3FCE-82E9-B33B17D6F831}"/>
                </a:ext>
              </a:extLst>
            </p:cNvPr>
            <p:cNvSpPr/>
            <p:nvPr/>
          </p:nvSpPr>
          <p:spPr>
            <a:xfrm>
              <a:off x="1934679" y="1414915"/>
              <a:ext cx="240630" cy="240630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="" xmlns:a16="http://schemas.microsoft.com/office/drawing/2014/main" id="{F2B7070E-FDDE-0FD2-410E-07751D6361E7}"/>
                </a:ext>
              </a:extLst>
            </p:cNvPr>
            <p:cNvSpPr/>
            <p:nvPr/>
          </p:nvSpPr>
          <p:spPr>
            <a:xfrm>
              <a:off x="2295627" y="1414915"/>
              <a:ext cx="240630" cy="240630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="" xmlns:a16="http://schemas.microsoft.com/office/drawing/2014/main" id="{A3EBBBF8-7407-F163-F0E3-E7AB55121DB6}"/>
                </a:ext>
              </a:extLst>
            </p:cNvPr>
            <p:cNvSpPr/>
            <p:nvPr/>
          </p:nvSpPr>
          <p:spPr>
            <a:xfrm>
              <a:off x="1929867" y="1755340"/>
              <a:ext cx="240630" cy="240630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65292CDB-628D-B9D1-CF63-D5DB92B859B8}"/>
              </a:ext>
            </a:extLst>
          </p:cNvPr>
          <p:cNvGrpSpPr/>
          <p:nvPr/>
        </p:nvGrpSpPr>
        <p:grpSpPr>
          <a:xfrm>
            <a:off x="4843273" y="2008590"/>
            <a:ext cx="355268" cy="340425"/>
            <a:chOff x="1929867" y="1414915"/>
            <a:chExt cx="606390" cy="581055"/>
          </a:xfrm>
          <a:solidFill>
            <a:srgbClr val="6E67A5"/>
          </a:solidFill>
        </p:grpSpPr>
        <p:sp>
          <p:nvSpPr>
            <p:cNvPr id="7" name="Прямоугольник 6">
              <a:extLst>
                <a:ext uri="{FF2B5EF4-FFF2-40B4-BE49-F238E27FC236}">
                  <a16:creationId xmlns="" xmlns:a16="http://schemas.microsoft.com/office/drawing/2014/main" id="{C85AD693-1CC7-744A-435B-D2A641EFA45A}"/>
                </a:ext>
              </a:extLst>
            </p:cNvPr>
            <p:cNvSpPr/>
            <p:nvPr/>
          </p:nvSpPr>
          <p:spPr>
            <a:xfrm>
              <a:off x="1934679" y="1414915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="" xmlns:a16="http://schemas.microsoft.com/office/drawing/2014/main" id="{4EB2A930-5827-AA3B-1648-7728EAB4D74C}"/>
                </a:ext>
              </a:extLst>
            </p:cNvPr>
            <p:cNvSpPr/>
            <p:nvPr/>
          </p:nvSpPr>
          <p:spPr>
            <a:xfrm>
              <a:off x="2295627" y="1414915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="" xmlns:a16="http://schemas.microsoft.com/office/drawing/2014/main" id="{C6676115-A36F-9324-E94E-E54933CDF481}"/>
                </a:ext>
              </a:extLst>
            </p:cNvPr>
            <p:cNvSpPr/>
            <p:nvPr/>
          </p:nvSpPr>
          <p:spPr>
            <a:xfrm>
              <a:off x="1929867" y="1755340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="" xmlns:a16="http://schemas.microsoft.com/office/drawing/2014/main" id="{2E336642-8FAE-DC55-DC63-BAD56125D9BB}"/>
              </a:ext>
            </a:extLst>
          </p:cNvPr>
          <p:cNvGrpSpPr/>
          <p:nvPr/>
        </p:nvGrpSpPr>
        <p:grpSpPr>
          <a:xfrm>
            <a:off x="8410662" y="2008590"/>
            <a:ext cx="355268" cy="340425"/>
            <a:chOff x="1929867" y="1414915"/>
            <a:chExt cx="606390" cy="581055"/>
          </a:xfrm>
          <a:solidFill>
            <a:srgbClr val="423D67"/>
          </a:solidFill>
        </p:grpSpPr>
        <p:sp>
          <p:nvSpPr>
            <p:cNvPr id="11" name="Прямоугольник 10">
              <a:extLst>
                <a:ext uri="{FF2B5EF4-FFF2-40B4-BE49-F238E27FC236}">
                  <a16:creationId xmlns="" xmlns:a16="http://schemas.microsoft.com/office/drawing/2014/main" id="{9C4537A7-7FD9-83D8-F019-BA130925E230}"/>
                </a:ext>
              </a:extLst>
            </p:cNvPr>
            <p:cNvSpPr/>
            <p:nvPr/>
          </p:nvSpPr>
          <p:spPr>
            <a:xfrm>
              <a:off x="1934679" y="1414915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="" xmlns:a16="http://schemas.microsoft.com/office/drawing/2014/main" id="{FBC47170-8556-A5AA-3336-84317FBD1F74}"/>
                </a:ext>
              </a:extLst>
            </p:cNvPr>
            <p:cNvSpPr/>
            <p:nvPr/>
          </p:nvSpPr>
          <p:spPr>
            <a:xfrm>
              <a:off x="2295627" y="1414915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="" xmlns:a16="http://schemas.microsoft.com/office/drawing/2014/main" id="{36CBDC29-A0C9-E241-2635-CAE8203F5466}"/>
                </a:ext>
              </a:extLst>
            </p:cNvPr>
            <p:cNvSpPr/>
            <p:nvPr/>
          </p:nvSpPr>
          <p:spPr>
            <a:xfrm>
              <a:off x="1929867" y="1755340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74856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4B9E53FF-81FE-85E8-7872-E931A9420CFD}"/>
              </a:ext>
            </a:extLst>
          </p:cNvPr>
          <p:cNvCxnSpPr>
            <a:cxnSpLocks/>
          </p:cNvCxnSpPr>
          <p:nvPr/>
        </p:nvCxnSpPr>
        <p:spPr>
          <a:xfrm>
            <a:off x="1804090" y="2026210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="" xmlns:a16="http://schemas.microsoft.com/office/drawing/2014/main" id="{4B2EED6D-008D-60AA-EC21-886C956035A5}"/>
              </a:ext>
            </a:extLst>
          </p:cNvPr>
          <p:cNvCxnSpPr>
            <a:cxnSpLocks/>
          </p:cNvCxnSpPr>
          <p:nvPr/>
        </p:nvCxnSpPr>
        <p:spPr>
          <a:xfrm>
            <a:off x="1804090" y="2669974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="" xmlns:a16="http://schemas.microsoft.com/office/drawing/2014/main" id="{B125BB3D-D3FF-E931-5752-59A39AF01455}"/>
              </a:ext>
            </a:extLst>
          </p:cNvPr>
          <p:cNvCxnSpPr>
            <a:cxnSpLocks/>
          </p:cNvCxnSpPr>
          <p:nvPr/>
        </p:nvCxnSpPr>
        <p:spPr>
          <a:xfrm>
            <a:off x="1804090" y="3559959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F2FF98D8-800E-B69C-1410-66847F8379A8}"/>
              </a:ext>
            </a:extLst>
          </p:cNvPr>
          <p:cNvCxnSpPr>
            <a:cxnSpLocks/>
          </p:cNvCxnSpPr>
          <p:nvPr/>
        </p:nvCxnSpPr>
        <p:spPr>
          <a:xfrm>
            <a:off x="1804090" y="4449944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57F07771-FCB9-7B06-25CA-B506927CA7CD}"/>
              </a:ext>
            </a:extLst>
          </p:cNvPr>
          <p:cNvCxnSpPr>
            <a:cxnSpLocks/>
          </p:cNvCxnSpPr>
          <p:nvPr/>
        </p:nvCxnSpPr>
        <p:spPr>
          <a:xfrm>
            <a:off x="1804090" y="6229910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="" xmlns:a16="http://schemas.microsoft.com/office/drawing/2014/main" id="{F47C3E08-7C97-B6EA-7D65-852096260320}"/>
              </a:ext>
            </a:extLst>
          </p:cNvPr>
          <p:cNvCxnSpPr>
            <a:cxnSpLocks/>
          </p:cNvCxnSpPr>
          <p:nvPr/>
        </p:nvCxnSpPr>
        <p:spPr>
          <a:xfrm>
            <a:off x="1804090" y="5339929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B955C0B4-D0B7-F2CB-0749-FB0476F6BD8D}"/>
              </a:ext>
            </a:extLst>
          </p:cNvPr>
          <p:cNvSpPr txBox="1"/>
          <p:nvPr/>
        </p:nvSpPr>
        <p:spPr>
          <a:xfrm>
            <a:off x="1804090" y="2178815"/>
            <a:ext cx="9421299" cy="338554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утверждение списка организаций, которым необходимо получение временной лицензии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2F885B7-D50A-8EFE-FE99-794AF41F199C}"/>
              </a:ext>
            </a:extLst>
          </p:cNvPr>
          <p:cNvSpPr txBox="1"/>
          <p:nvPr/>
        </p:nvSpPr>
        <p:spPr>
          <a:xfrm>
            <a:off x="1804090" y="2822579"/>
            <a:ext cx="9600509" cy="584775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разработка и утверждение плана-графика подготовки организаций к получению бессрочной лицензии с определением сроков лицензирования (в отношении каждой организации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4E5459C1-7D6D-F359-6B0F-876A3DF97FB4}"/>
              </a:ext>
            </a:extLst>
          </p:cNvPr>
          <p:cNvSpPr txBox="1"/>
          <p:nvPr/>
        </p:nvSpPr>
        <p:spPr>
          <a:xfrm>
            <a:off x="1804091" y="3712564"/>
            <a:ext cx="9105210" cy="584775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проведение работы с организациями по согласованию правильности заполнения заявлений и оформлению документов, необходимых для получения бессрочной лицензи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7173820F-3631-9BDF-9152-E8133289C7F0}"/>
              </a:ext>
            </a:extLst>
          </p:cNvPr>
          <p:cNvSpPr txBox="1"/>
          <p:nvPr/>
        </p:nvSpPr>
        <p:spPr>
          <a:xfrm>
            <a:off x="1804090" y="4602549"/>
            <a:ext cx="8945114" cy="584775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оказание помощи организациям при направлении заявления о предоставлении временной и бессрочной лицензий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6924A5B0-BC08-E250-5099-B8960D1FB0AA}"/>
              </a:ext>
            </a:extLst>
          </p:cNvPr>
          <p:cNvSpPr txBox="1"/>
          <p:nvPr/>
        </p:nvSpPr>
        <p:spPr>
          <a:xfrm>
            <a:off x="1804090" y="5492534"/>
            <a:ext cx="9421299" cy="584775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координация деятельности по получению организациями, реализующими программы спортивной подготовки, временной и бессрочной лицензий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9D79CA05-54A9-CEFE-61AF-44385CDE6562}"/>
              </a:ext>
            </a:extLst>
          </p:cNvPr>
          <p:cNvSpPr txBox="1"/>
          <p:nvPr/>
        </p:nvSpPr>
        <p:spPr>
          <a:xfrm>
            <a:off x="1368425" y="356234"/>
            <a:ext cx="10036175" cy="107721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244600">
              <a:spcBef>
                <a:spcPct val="0"/>
              </a:spcBef>
            </a:pPr>
            <a:r>
              <a:rPr lang="ru-RU" sz="3200" b="1" kern="1200" dirty="0">
                <a:solidFill>
                  <a:srgbClr val="423D67"/>
                </a:solidFill>
              </a:rPr>
              <a:t>ЗАДАЧИ ОРГАНОВ ИСПОЛНИТЕЛЬНОЙ ВЛАСТИ СУБЪЕКТОВ РОССИЙСКОЙ ФЕДЕРАЦИИ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55265596-3E73-3B9B-33B2-B745B3379C74}"/>
              </a:ext>
            </a:extLst>
          </p:cNvPr>
          <p:cNvSpPr/>
          <p:nvPr/>
        </p:nvSpPr>
        <p:spPr>
          <a:xfrm>
            <a:off x="952500" y="2026210"/>
            <a:ext cx="851591" cy="4203700"/>
          </a:xfrm>
          <a:prstGeom prst="rect">
            <a:avLst/>
          </a:prstGeom>
          <a:solidFill>
            <a:srgbClr val="6E67A5"/>
          </a:solidFill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В СФЕРЕ ФИЗИЧЕСКОЙ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КУЛЬТУРЫ И СПОРТА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3B2A925B-C218-9ECA-B9B2-DBBEC01264AD}"/>
              </a:ext>
            </a:extLst>
          </p:cNvPr>
          <p:cNvSpPr/>
          <p:nvPr/>
        </p:nvSpPr>
        <p:spPr>
          <a:xfrm>
            <a:off x="11079956" y="2026210"/>
            <a:ext cx="851591" cy="4203700"/>
          </a:xfrm>
          <a:prstGeom prst="rect">
            <a:avLst/>
          </a:prstGeom>
          <a:solidFill>
            <a:srgbClr val="8A8AD0"/>
          </a:solidFill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В СФЕРЕ ОБРАЗОВАНИЯ </a:t>
            </a:r>
            <a:br>
              <a:rPr lang="ru-RU" sz="1600" b="1" dirty="0">
                <a:solidFill>
                  <a:schemeClr val="bg1"/>
                </a:solidFill>
              </a:rPr>
            </a:br>
            <a:r>
              <a:rPr lang="ru-RU" sz="1600" dirty="0">
                <a:solidFill>
                  <a:schemeClr val="bg1"/>
                </a:solidFill>
              </a:rPr>
              <a:t>(лицензирующие органы) </a:t>
            </a:r>
          </a:p>
        </p:txBody>
      </p:sp>
    </p:spTree>
    <p:extLst>
      <p:ext uri="{BB962C8B-B14F-4D97-AF65-F5344CB8AC3E}">
        <p14:creationId xmlns:p14="http://schemas.microsoft.com/office/powerpoint/2010/main" val="151304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араллелограмм 8"/>
          <p:cNvSpPr/>
          <p:nvPr/>
        </p:nvSpPr>
        <p:spPr>
          <a:xfrm flipH="1">
            <a:off x="0" y="4088059"/>
            <a:ext cx="2075337" cy="1933575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760" y="1390650"/>
            <a:ext cx="4419600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772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0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rgbClr val="8A8AD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>
        <a:spAutoFit/>
      </a:bodyPr>
      <a:lstStyle>
        <a:defPPr algn="l">
          <a:defRPr dirty="0">
            <a:solidFill>
              <a:srgbClr val="423D6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798</TotalTime>
  <Words>283</Words>
  <Application>Microsoft Office PowerPoint</Application>
  <PresentationFormat>Произвольный</PresentationFormat>
  <Paragraphs>61</Paragraphs>
  <Slides>9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Arial</vt:lpstr>
      <vt:lpstr>Times New Roman</vt:lpstr>
      <vt:lpstr>Calibri</vt:lpstr>
      <vt:lpstr>Calibri Light</vt:lpstr>
      <vt:lpstr>Тема Office</vt:lpstr>
      <vt:lpstr>10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плинов Ярослав</dc:creator>
  <cp:lastModifiedBy>Елисеева Евгения Николаевна</cp:lastModifiedBy>
  <cp:revision>840</cp:revision>
  <cp:lastPrinted>2021-03-16T12:01:01Z</cp:lastPrinted>
  <dcterms:created xsi:type="dcterms:W3CDTF">2020-06-19T06:58:49Z</dcterms:created>
  <dcterms:modified xsi:type="dcterms:W3CDTF">2022-11-17T10:33:18Z</dcterms:modified>
</cp:coreProperties>
</file>